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Lst>
  <p:notesMasterIdLst>
    <p:notesMasterId r:id="rId12"/>
  </p:notesMasterIdLst>
  <p:sldIdLst>
    <p:sldId id="326" r:id="rId4"/>
    <p:sldId id="310" r:id="rId5"/>
    <p:sldId id="11088450" r:id="rId6"/>
    <p:sldId id="11088439" r:id="rId7"/>
    <p:sldId id="11088454" r:id="rId8"/>
    <p:sldId id="11088455" r:id="rId9"/>
    <p:sldId id="11088456" r:id="rId10"/>
    <p:sldId id="385"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83" d="100"/>
          <a:sy n="83" d="100"/>
        </p:scale>
        <p:origin x="686"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39FAB1-C7A9-43A5-90B8-0DCCDCFA321D}" type="datetimeFigureOut">
              <a:rPr lang="en-US" smtClean="0"/>
              <a:t>12/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476523-4238-4152-A983-6EC6589CA37B}" type="slidenum">
              <a:rPr lang="en-US" smtClean="0"/>
              <a:t>‹#›</a:t>
            </a:fld>
            <a:endParaRPr lang="en-US"/>
          </a:p>
        </p:txBody>
      </p:sp>
    </p:spTree>
    <p:extLst>
      <p:ext uri="{BB962C8B-B14F-4D97-AF65-F5344CB8AC3E}">
        <p14:creationId xmlns:p14="http://schemas.microsoft.com/office/powerpoint/2010/main" val="96800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2AADF-63ED-46E9-BD4D-D98A3F57310E}"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140394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2AADF-63ED-46E9-BD4D-D98A3F57310E}"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970337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2AADF-63ED-46E9-BD4D-D98A3F57310E}"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47225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2AADF-63ED-46E9-BD4D-D98A3F57310E}"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120489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2AADF-63ED-46E9-BD4D-D98A3F57310E}"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3780725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7DC5B-CD46-431C-B4E0-5DB51260B7D7}"/>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4E9DB3-F4F9-4088-BE61-98B6376B7F0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2BABBDD-C136-4B3C-9FA3-D0AAB5C67951}"/>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5" name="Footer Placeholder 4">
            <a:extLst>
              <a:ext uri="{FF2B5EF4-FFF2-40B4-BE49-F238E27FC236}">
                <a16:creationId xmlns:a16="http://schemas.microsoft.com/office/drawing/2014/main" id="{12481916-A545-4E3A-98DE-5BA757DC22B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AC39E12-50DA-4FBA-9883-019B8D5824B3}"/>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pic>
        <p:nvPicPr>
          <p:cNvPr id="9" name="Picture 8">
            <a:extLst>
              <a:ext uri="{FF2B5EF4-FFF2-40B4-BE49-F238E27FC236}">
                <a16:creationId xmlns:a16="http://schemas.microsoft.com/office/drawing/2014/main" id="{4A336E03-D0DF-4DCA-AF35-7F8A1C5648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503553" y="-1278286"/>
            <a:ext cx="5351206" cy="5351206"/>
          </a:xfrm>
          <a:prstGeom prst="ellipse">
            <a:avLst/>
          </a:prstGeom>
          <a:ln>
            <a:noFill/>
          </a:ln>
          <a:effectLst>
            <a:softEdge rad="112500"/>
          </a:effectLst>
        </p:spPr>
      </p:pic>
      <p:pic>
        <p:nvPicPr>
          <p:cNvPr id="10" name="Picture 9">
            <a:extLst>
              <a:ext uri="{FF2B5EF4-FFF2-40B4-BE49-F238E27FC236}">
                <a16:creationId xmlns:a16="http://schemas.microsoft.com/office/drawing/2014/main" id="{8CE626A4-721A-4E05-80D5-75E2E3DF86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8830" y="-26373486"/>
            <a:ext cx="5351206" cy="5351206"/>
          </a:xfrm>
          <a:prstGeom prst="ellipse">
            <a:avLst/>
          </a:prstGeom>
          <a:ln>
            <a:noFill/>
          </a:ln>
          <a:effectLst>
            <a:softEdge rad="112500"/>
          </a:effectLst>
        </p:spPr>
      </p:pic>
      <p:pic>
        <p:nvPicPr>
          <p:cNvPr id="11" name="Picture 10">
            <a:extLst>
              <a:ext uri="{FF2B5EF4-FFF2-40B4-BE49-F238E27FC236}">
                <a16:creationId xmlns:a16="http://schemas.microsoft.com/office/drawing/2014/main" id="{360C98DE-3BC5-4D5F-A02A-F1A32A5F1E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38601" y="20768914"/>
            <a:ext cx="5351206" cy="5351206"/>
          </a:xfrm>
          <a:prstGeom prst="ellipse">
            <a:avLst/>
          </a:prstGeom>
          <a:ln>
            <a:noFill/>
          </a:ln>
          <a:effectLst>
            <a:softEdge rad="112500"/>
          </a:effectLst>
        </p:spPr>
      </p:pic>
      <p:pic>
        <p:nvPicPr>
          <p:cNvPr id="12" name="Picture 11">
            <a:extLst>
              <a:ext uri="{FF2B5EF4-FFF2-40B4-BE49-F238E27FC236}">
                <a16:creationId xmlns:a16="http://schemas.microsoft.com/office/drawing/2014/main" id="{D0D159DF-D6AE-44A5-8D59-6A2DD74DD0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506946" y="-2926613"/>
            <a:ext cx="5351206" cy="5351206"/>
          </a:xfrm>
          <a:prstGeom prst="ellipse">
            <a:avLst/>
          </a:prstGeom>
          <a:ln>
            <a:noFill/>
          </a:ln>
          <a:effectLst>
            <a:softEdge rad="112500"/>
          </a:effectLst>
        </p:spPr>
      </p:pic>
    </p:spTree>
    <p:extLst>
      <p:ext uri="{BB962C8B-B14F-4D97-AF65-F5344CB8AC3E}">
        <p14:creationId xmlns:p14="http://schemas.microsoft.com/office/powerpoint/2010/main" val="315973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D86C5-C461-4FB7-B939-AE129F0097C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595C921-B61B-447F-957D-706E1181E8CB}"/>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DCF10B-C08D-4DF4-807F-BB0B6F172D15}"/>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5" name="Footer Placeholder 4">
            <a:extLst>
              <a:ext uri="{FF2B5EF4-FFF2-40B4-BE49-F238E27FC236}">
                <a16:creationId xmlns:a16="http://schemas.microsoft.com/office/drawing/2014/main" id="{01E33FA1-68A0-486A-B7F5-61ED0F59653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AED3B31-B029-4AEC-A19D-38CAC4CABBF9}"/>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spTree>
    <p:extLst>
      <p:ext uri="{BB962C8B-B14F-4D97-AF65-F5344CB8AC3E}">
        <p14:creationId xmlns:p14="http://schemas.microsoft.com/office/powerpoint/2010/main" val="82547299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F18239-1BEA-4EAF-8944-2588AEEC9D5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99868EE-E67E-49DC-8796-3AEEE4AAFDB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DE7A3-B8D4-4111-9F91-6D7F18A3269F}"/>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5" name="Footer Placeholder 4">
            <a:extLst>
              <a:ext uri="{FF2B5EF4-FFF2-40B4-BE49-F238E27FC236}">
                <a16:creationId xmlns:a16="http://schemas.microsoft.com/office/drawing/2014/main" id="{09279D77-F7EE-466C-8A07-B31F0651900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7CDBABE-F1CF-46BF-86D2-E6ABF986A7D0}"/>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spTree>
    <p:extLst>
      <p:ext uri="{BB962C8B-B14F-4D97-AF65-F5344CB8AC3E}">
        <p14:creationId xmlns:p14="http://schemas.microsoft.com/office/powerpoint/2010/main" val="293681972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EC253E6-F4A4-444D-B58C-4D137C89207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43EDB7B6-0236-48D9-87A4-DFE1B9A9F2FB}"/>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E070E70C-0647-42DB-8A54-CCCBCB8866B9}"/>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5" name="页脚占位符 4">
            <a:extLst>
              <a:ext uri="{FF2B5EF4-FFF2-40B4-BE49-F238E27FC236}">
                <a16:creationId xmlns:a16="http://schemas.microsoft.com/office/drawing/2014/main" id="{C8877682-267C-4ABC-9EF1-92971199ADB5}"/>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6E99644A-8C80-4F8B-A601-6528F071850A}"/>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307366011"/>
      </p:ext>
    </p:extLst>
  </p:cSld>
  <p:clrMapOvr>
    <a:masterClrMapping/>
  </p:clrMapOvr>
  <p:transition spd="med" advClick="0">
    <p:pull/>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3A5C552-90CB-454E-9F23-700F9F55ECA2}"/>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EAB9C5AB-06D4-4AE8-9115-CFCF8BD02C71}"/>
              </a:ext>
            </a:extLst>
          </p:cNvPr>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0582C7B-F3B6-46B9-A1C4-B1897E39036A}"/>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5" name="页脚占位符 4">
            <a:extLst>
              <a:ext uri="{FF2B5EF4-FFF2-40B4-BE49-F238E27FC236}">
                <a16:creationId xmlns:a16="http://schemas.microsoft.com/office/drawing/2014/main" id="{C9F40532-E60A-452A-97AF-D08B8FF30079}"/>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EA9FC4B1-5836-467C-842B-72E767EBCC6D}"/>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3409277831"/>
      </p:ext>
    </p:extLst>
  </p:cSld>
  <p:clrMapOvr>
    <a:masterClrMapping/>
  </p:clrMapOvr>
  <p:transition spd="med" advClick="0">
    <p:pull/>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3C72051-2485-4E26-9438-5B20BC49F48F}"/>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7EDB208E-BC33-48F4-BC4C-F8C948822A86}"/>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A8869F09-DF23-4C49-8F73-2703F4890CFD}"/>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5" name="页脚占位符 4">
            <a:extLst>
              <a:ext uri="{FF2B5EF4-FFF2-40B4-BE49-F238E27FC236}">
                <a16:creationId xmlns:a16="http://schemas.microsoft.com/office/drawing/2014/main" id="{AFD69D9C-AB37-4E56-A686-7EA3A034F792}"/>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2975F848-C657-455E-AD0A-E562004A5939}"/>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2512772982"/>
      </p:ext>
    </p:extLst>
  </p:cSld>
  <p:clrMapOvr>
    <a:masterClrMapping/>
  </p:clrMapOvr>
  <p:transition spd="med" advClick="0">
    <p:pull/>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7C61BC5-FE48-44F8-B05A-8F8604DB98D0}"/>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B8F45BEA-8C23-40AD-9054-AA3D8D91E758}"/>
              </a:ext>
            </a:extLst>
          </p:cNvPr>
          <p:cNvSpPr>
            <a:spLocks noGrp="1"/>
          </p:cNvSpPr>
          <p:nvPr>
            <p:ph sz="half" idx="1"/>
          </p:nvPr>
        </p:nvSpPr>
        <p:spPr>
          <a:xfrm>
            <a:off x="838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E232EDDA-88A2-441C-AD88-60CFC8094A72}"/>
              </a:ext>
            </a:extLst>
          </p:cNvPr>
          <p:cNvSpPr>
            <a:spLocks noGrp="1"/>
          </p:cNvSpPr>
          <p:nvPr>
            <p:ph sz="half" idx="2"/>
          </p:nvPr>
        </p:nvSpPr>
        <p:spPr>
          <a:xfrm>
            <a:off x="6172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79AC5552-F661-4394-ACDB-01198EA2078B}"/>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6" name="页脚占位符 5">
            <a:extLst>
              <a:ext uri="{FF2B5EF4-FFF2-40B4-BE49-F238E27FC236}">
                <a16:creationId xmlns:a16="http://schemas.microsoft.com/office/drawing/2014/main" id="{C18D7C8B-E12D-482A-A0FD-84C881A78FDB}"/>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a:extLst>
              <a:ext uri="{FF2B5EF4-FFF2-40B4-BE49-F238E27FC236}">
                <a16:creationId xmlns:a16="http://schemas.microsoft.com/office/drawing/2014/main" id="{6C5A4B85-369B-49C1-933D-BD356DE9A1A5}"/>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1196455687"/>
      </p:ext>
    </p:extLst>
  </p:cSld>
  <p:clrMapOvr>
    <a:masterClrMapping/>
  </p:clrMapOvr>
  <p:transition spd="med" advClick="0">
    <p:pull/>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9442C76-5952-496A-839D-338E90C9F365}"/>
              </a:ext>
            </a:extLst>
          </p:cNvPr>
          <p:cNvSpPr>
            <a:spLocks noGrp="1"/>
          </p:cNvSpPr>
          <p:nvPr>
            <p:ph type="title"/>
          </p:nvPr>
        </p:nvSpPr>
        <p:spPr>
          <a:xfrm>
            <a:off x="839788" y="365125"/>
            <a:ext cx="10515600" cy="1325563"/>
          </a:xfrm>
          <a:prstGeom prst="rect">
            <a:avLst/>
          </a:prstGeo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45274431-5195-4B91-BE18-38074F6ADEE1}"/>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FB356291-84A8-4671-92D5-C7B3D819F9A4}"/>
              </a:ext>
            </a:extLst>
          </p:cNvPr>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24445D14-7CE0-4911-A1AA-2DE921890492}"/>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7681601B-33E2-4EA2-8D11-D8DFB6DD9DDB}"/>
              </a:ext>
            </a:extLst>
          </p:cNvPr>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3F5231CE-D009-41EE-9CDB-EB314B21C4A9}"/>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8" name="页脚占位符 7">
            <a:extLst>
              <a:ext uri="{FF2B5EF4-FFF2-40B4-BE49-F238E27FC236}">
                <a16:creationId xmlns:a16="http://schemas.microsoft.com/office/drawing/2014/main" id="{8840AB78-1E29-473D-8A11-6AFAD00AAF8A}"/>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a:extLst>
              <a:ext uri="{FF2B5EF4-FFF2-40B4-BE49-F238E27FC236}">
                <a16:creationId xmlns:a16="http://schemas.microsoft.com/office/drawing/2014/main" id="{D0188C87-658C-436B-B4B1-2CED74B40FE3}"/>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2113289718"/>
      </p:ext>
    </p:extLst>
  </p:cSld>
  <p:clrMapOvr>
    <a:masterClrMapping/>
  </p:clrMapOvr>
  <p:transition spd="med" advClick="0">
    <p:pull/>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B64239F-C7C8-428E-9F1C-8B05897F7013}"/>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A7EFCB11-A9E5-40B5-AAE5-775D90D2AEBF}"/>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4" name="页脚占位符 3">
            <a:extLst>
              <a:ext uri="{FF2B5EF4-FFF2-40B4-BE49-F238E27FC236}">
                <a16:creationId xmlns:a16="http://schemas.microsoft.com/office/drawing/2014/main" id="{0C599970-118D-4140-BED8-0BA3D8438B44}"/>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a:extLst>
              <a:ext uri="{FF2B5EF4-FFF2-40B4-BE49-F238E27FC236}">
                <a16:creationId xmlns:a16="http://schemas.microsoft.com/office/drawing/2014/main" id="{6DB02198-C616-46C3-BEB7-8BCC7EA1C1E6}"/>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1941152038"/>
      </p:ext>
    </p:extLst>
  </p:cSld>
  <p:clrMapOvr>
    <a:masterClrMapping/>
  </p:clrMapOvr>
  <p:transition spd="med" advClick="0">
    <p:pull/>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004827CE-93E0-4622-A7B9-2A6F4F3C883D}"/>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3" name="页脚占位符 2">
            <a:extLst>
              <a:ext uri="{FF2B5EF4-FFF2-40B4-BE49-F238E27FC236}">
                <a16:creationId xmlns:a16="http://schemas.microsoft.com/office/drawing/2014/main" id="{F9BF9514-8E04-4ECA-94BB-A1DA17EF8B80}"/>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a:extLst>
              <a:ext uri="{FF2B5EF4-FFF2-40B4-BE49-F238E27FC236}">
                <a16:creationId xmlns:a16="http://schemas.microsoft.com/office/drawing/2014/main" id="{EF55FA55-D40B-49B7-B9CE-E3B489380F05}"/>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3252094513"/>
      </p:ext>
    </p:extLst>
  </p:cSld>
  <p:clrMapOvr>
    <a:masterClrMapping/>
  </p:clrMapOvr>
  <p:transition spd="med" advClick="0">
    <p:pull/>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284E83-EC58-4349-A536-9775958388A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CD66598F-F51F-49C9-99EB-8964E44EF37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A1850132-0C67-47E7-814F-15AA9A818F64}"/>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6AA9D7D4-7CE9-475D-861B-2FC494F13755}"/>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6" name="页脚占位符 5">
            <a:extLst>
              <a:ext uri="{FF2B5EF4-FFF2-40B4-BE49-F238E27FC236}">
                <a16:creationId xmlns:a16="http://schemas.microsoft.com/office/drawing/2014/main" id="{D3F87C66-B09A-4D70-8921-4647939C83FF}"/>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a:extLst>
              <a:ext uri="{FF2B5EF4-FFF2-40B4-BE49-F238E27FC236}">
                <a16:creationId xmlns:a16="http://schemas.microsoft.com/office/drawing/2014/main" id="{44EF293C-D3BC-4F01-ABAA-B0352DABE35C}"/>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1663833793"/>
      </p:ext>
    </p:extLst>
  </p:cSld>
  <p:clrMapOvr>
    <a:masterClrMapping/>
  </p:clrMapOvr>
  <p:transition spd="med" advClick="0">
    <p:pull/>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0B797-7D95-4861-8E05-45977176ECE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22BDBFF-D767-4F1B-AFC3-360CE9024F11}"/>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E60FFD-2A71-4878-8C89-0E8B9EFE64EB}"/>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5" name="Footer Placeholder 4">
            <a:extLst>
              <a:ext uri="{FF2B5EF4-FFF2-40B4-BE49-F238E27FC236}">
                <a16:creationId xmlns:a16="http://schemas.microsoft.com/office/drawing/2014/main" id="{6E3F8945-47D1-4377-834C-A42951ED6A1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1EF7E7D-4E3A-4703-BA1D-FE25D983E59C}"/>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pic>
        <p:nvPicPr>
          <p:cNvPr id="8" name="Picture 7">
            <a:extLst>
              <a:ext uri="{FF2B5EF4-FFF2-40B4-BE49-F238E27FC236}">
                <a16:creationId xmlns:a16="http://schemas.microsoft.com/office/drawing/2014/main" id="{5CCBFE7D-4481-4D12-AA1A-A009A70B9A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503553" y="-1278286"/>
            <a:ext cx="5351206" cy="5351206"/>
          </a:xfrm>
          <a:prstGeom prst="ellipse">
            <a:avLst/>
          </a:prstGeom>
          <a:ln>
            <a:noFill/>
          </a:ln>
          <a:effectLst>
            <a:softEdge rad="112500"/>
          </a:effectLst>
        </p:spPr>
      </p:pic>
      <p:pic>
        <p:nvPicPr>
          <p:cNvPr id="9" name="Picture 8">
            <a:extLst>
              <a:ext uri="{FF2B5EF4-FFF2-40B4-BE49-F238E27FC236}">
                <a16:creationId xmlns:a16="http://schemas.microsoft.com/office/drawing/2014/main" id="{6C9EC9F6-33F0-4504-A419-773C2CED54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8830" y="-26373486"/>
            <a:ext cx="5351206" cy="5351206"/>
          </a:xfrm>
          <a:prstGeom prst="ellipse">
            <a:avLst/>
          </a:prstGeom>
          <a:ln>
            <a:noFill/>
          </a:ln>
          <a:effectLst>
            <a:softEdge rad="112500"/>
          </a:effectLst>
        </p:spPr>
      </p:pic>
      <p:pic>
        <p:nvPicPr>
          <p:cNvPr id="10" name="Picture 9">
            <a:extLst>
              <a:ext uri="{FF2B5EF4-FFF2-40B4-BE49-F238E27FC236}">
                <a16:creationId xmlns:a16="http://schemas.microsoft.com/office/drawing/2014/main" id="{58F83B5E-05E5-487E-BE61-C331116D5E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38601" y="20768914"/>
            <a:ext cx="5351206" cy="5351206"/>
          </a:xfrm>
          <a:prstGeom prst="ellipse">
            <a:avLst/>
          </a:prstGeom>
          <a:ln>
            <a:noFill/>
          </a:ln>
          <a:effectLst>
            <a:softEdge rad="112500"/>
          </a:effectLst>
        </p:spPr>
      </p:pic>
      <p:pic>
        <p:nvPicPr>
          <p:cNvPr id="11" name="Picture 10">
            <a:extLst>
              <a:ext uri="{FF2B5EF4-FFF2-40B4-BE49-F238E27FC236}">
                <a16:creationId xmlns:a16="http://schemas.microsoft.com/office/drawing/2014/main" id="{4346E020-9B01-40C5-BA28-CEFF828381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506946" y="-2926613"/>
            <a:ext cx="5351206" cy="5351206"/>
          </a:xfrm>
          <a:prstGeom prst="ellipse">
            <a:avLst/>
          </a:prstGeom>
          <a:ln>
            <a:noFill/>
          </a:ln>
          <a:effectLst>
            <a:softEdge rad="112500"/>
          </a:effectLst>
        </p:spPr>
      </p:pic>
    </p:spTree>
    <p:extLst>
      <p:ext uri="{BB962C8B-B14F-4D97-AF65-F5344CB8AC3E}">
        <p14:creationId xmlns:p14="http://schemas.microsoft.com/office/powerpoint/2010/main" val="147261228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1DCEB2-7E65-4A6D-8517-AE20A8FA47E2}"/>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5352144D-1832-4E9B-9816-F904B094CE73}"/>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2632A0C3-DCE4-4EFB-A652-83B8E6CF2A50}"/>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211DDD49-6A0A-4863-BB81-898D3DD15113}"/>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6" name="页脚占位符 5">
            <a:extLst>
              <a:ext uri="{FF2B5EF4-FFF2-40B4-BE49-F238E27FC236}">
                <a16:creationId xmlns:a16="http://schemas.microsoft.com/office/drawing/2014/main" id="{40A832F1-2984-4606-A88B-F445AB9C5A66}"/>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a:extLst>
              <a:ext uri="{FF2B5EF4-FFF2-40B4-BE49-F238E27FC236}">
                <a16:creationId xmlns:a16="http://schemas.microsoft.com/office/drawing/2014/main" id="{FCF23B08-9A06-4259-9611-1B93C5A035D8}"/>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1788482280"/>
      </p:ext>
    </p:extLst>
  </p:cSld>
  <p:clrMapOvr>
    <a:masterClrMapping/>
  </p:clrMapOvr>
  <p:transition spd="med" advClick="0">
    <p:pull/>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8E36B-4FA5-4B35-A934-A4524BD80359}"/>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C0ACB8B5-9088-4430-A73E-C1D0788ACD3E}"/>
              </a:ext>
            </a:extLst>
          </p:cNvPr>
          <p:cNvSpPr>
            <a:spLocks noGrp="1"/>
          </p:cNvSpPr>
          <p:nvPr>
            <p:ph type="body" orient="vert" idx="1"/>
          </p:nvPr>
        </p:nvSpPr>
        <p:spPr>
          <a:xfrm>
            <a:off x="838200" y="1825625"/>
            <a:ext cx="10515600" cy="4351338"/>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A1F70DD-A88F-4F7C-BA9E-7F4B1A510CBF}"/>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5" name="页脚占位符 4">
            <a:extLst>
              <a:ext uri="{FF2B5EF4-FFF2-40B4-BE49-F238E27FC236}">
                <a16:creationId xmlns:a16="http://schemas.microsoft.com/office/drawing/2014/main" id="{25D35DDA-F4C4-40B1-A9B3-E0A88399B008}"/>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F74B718D-7FED-4271-AEF2-653419396BD1}"/>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3691852291"/>
      </p:ext>
    </p:extLst>
  </p:cSld>
  <p:clrMapOvr>
    <a:masterClrMapping/>
  </p:clrMapOvr>
  <p:transition spd="med" advClick="0">
    <p:pull/>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2F137EDE-70A1-4462-83D5-18C4F59626F9}"/>
              </a:ext>
            </a:extLst>
          </p:cNvPr>
          <p:cNvSpPr>
            <a:spLocks noGrp="1"/>
          </p:cNvSpPr>
          <p:nvPr>
            <p:ph type="title" orient="vert"/>
          </p:nvPr>
        </p:nvSpPr>
        <p:spPr>
          <a:xfrm>
            <a:off x="8724900" y="365125"/>
            <a:ext cx="2628900" cy="5811838"/>
          </a:xfrm>
          <a:prstGeom prst="rect">
            <a:avLst/>
          </a:prstGeo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AAC66C7D-42E0-4578-898D-CEE625181D55}"/>
              </a:ext>
            </a:extLst>
          </p:cNvPr>
          <p:cNvSpPr>
            <a:spLocks noGrp="1"/>
          </p:cNvSpPr>
          <p:nvPr>
            <p:ph type="body" orient="vert" idx="1"/>
          </p:nvPr>
        </p:nvSpPr>
        <p:spPr>
          <a:xfrm>
            <a:off x="838200" y="365125"/>
            <a:ext cx="7734300" cy="5811838"/>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6B92A0CD-135C-459E-BE65-BCA0189CEB28}"/>
              </a:ext>
            </a:extLst>
          </p:cNvPr>
          <p:cNvSpPr>
            <a:spLocks noGrp="1"/>
          </p:cNvSpPr>
          <p:nvPr>
            <p:ph type="dt" sz="half" idx="10"/>
          </p:nvPr>
        </p:nvSpPr>
        <p:spPr>
          <a:xfrm>
            <a:off x="838200" y="6356350"/>
            <a:ext cx="2743200" cy="365125"/>
          </a:xfrm>
          <a:prstGeom prst="rect">
            <a:avLst/>
          </a:prstGeom>
        </p:spPr>
        <p:txBody>
          <a:bodyPr/>
          <a:lstStyle/>
          <a:p>
            <a:fld id="{1EDBFD78-BBAB-4219-A6B5-B808C8360C80}" type="datetimeFigureOut">
              <a:rPr lang="zh-CN" altLang="en-US" smtClean="0"/>
              <a:t>2025/12/27</a:t>
            </a:fld>
            <a:endParaRPr lang="zh-CN" altLang="en-US"/>
          </a:p>
        </p:txBody>
      </p:sp>
      <p:sp>
        <p:nvSpPr>
          <p:cNvPr id="5" name="页脚占位符 4">
            <a:extLst>
              <a:ext uri="{FF2B5EF4-FFF2-40B4-BE49-F238E27FC236}">
                <a16:creationId xmlns:a16="http://schemas.microsoft.com/office/drawing/2014/main" id="{98B3D954-9D05-4258-A858-8F268756BC54}"/>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12D3F83B-36AF-4933-A915-56F87C7D3C83}"/>
              </a:ext>
            </a:extLst>
          </p:cNvPr>
          <p:cNvSpPr>
            <a:spLocks noGrp="1"/>
          </p:cNvSpPr>
          <p:nvPr>
            <p:ph type="sldNum" sz="quarter" idx="12"/>
          </p:nvPr>
        </p:nvSpPr>
        <p:spPr>
          <a:xfrm>
            <a:off x="8610600" y="6356350"/>
            <a:ext cx="2743200" cy="365125"/>
          </a:xfrm>
          <a:prstGeom prst="rect">
            <a:avLst/>
          </a:prstGeom>
        </p:spPr>
        <p:txBody>
          <a:bodyPr/>
          <a:lstStyle/>
          <a:p>
            <a:fld id="{3D0A58A1-B489-44B1-96D3-21D6000AB215}" type="slidenum">
              <a:rPr lang="zh-CN" altLang="en-US" smtClean="0"/>
              <a:t>‹#›</a:t>
            </a:fld>
            <a:endParaRPr lang="zh-CN" altLang="en-US"/>
          </a:p>
        </p:txBody>
      </p:sp>
    </p:spTree>
    <p:extLst>
      <p:ext uri="{BB962C8B-B14F-4D97-AF65-F5344CB8AC3E}">
        <p14:creationId xmlns:p14="http://schemas.microsoft.com/office/powerpoint/2010/main" val="2373667101"/>
      </p:ext>
    </p:extLst>
  </p:cSld>
  <p:clrMapOvr>
    <a:masterClrMapping/>
  </p:clrMapOvr>
  <p:transition spd="med" advClick="0">
    <p:pull/>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29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06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8B8862C-D5F2-32C6-D504-D452A52C88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Rounded Corners 10">
            <a:extLst>
              <a:ext uri="{FF2B5EF4-FFF2-40B4-BE49-F238E27FC236}">
                <a16:creationId xmlns:a16="http://schemas.microsoft.com/office/drawing/2014/main" id="{96C63A52-2627-92F3-5A30-235217CDE614}"/>
              </a:ext>
            </a:extLst>
          </p:cNvPr>
          <p:cNvSpPr/>
          <p:nvPr userDrawn="1"/>
        </p:nvSpPr>
        <p:spPr>
          <a:xfrm>
            <a:off x="228600" y="228600"/>
            <a:ext cx="11811000" cy="6539864"/>
          </a:xfrm>
          <a:custGeom>
            <a:avLst/>
            <a:gdLst>
              <a:gd name="connsiteX0" fmla="*/ 0 w 11811000"/>
              <a:gd name="connsiteY0" fmla="*/ 276309 h 6539864"/>
              <a:gd name="connsiteX1" fmla="*/ 276309 w 11811000"/>
              <a:gd name="connsiteY1" fmla="*/ 0 h 6539864"/>
              <a:gd name="connsiteX2" fmla="*/ 713399 w 11811000"/>
              <a:gd name="connsiteY2" fmla="*/ 0 h 6539864"/>
              <a:gd name="connsiteX3" fmla="*/ 1037905 w 11811000"/>
              <a:gd name="connsiteY3" fmla="*/ 0 h 6539864"/>
              <a:gd name="connsiteX4" fmla="*/ 1812747 w 11811000"/>
              <a:gd name="connsiteY4" fmla="*/ 0 h 6539864"/>
              <a:gd name="connsiteX5" fmla="*/ 2137253 w 11811000"/>
              <a:gd name="connsiteY5" fmla="*/ 0 h 6539864"/>
              <a:gd name="connsiteX6" fmla="*/ 2574343 w 11811000"/>
              <a:gd name="connsiteY6" fmla="*/ 0 h 6539864"/>
              <a:gd name="connsiteX7" fmla="*/ 3124017 w 11811000"/>
              <a:gd name="connsiteY7" fmla="*/ 0 h 6539864"/>
              <a:gd name="connsiteX8" fmla="*/ 3561108 w 11811000"/>
              <a:gd name="connsiteY8" fmla="*/ 0 h 6539864"/>
              <a:gd name="connsiteX9" fmla="*/ 4223365 w 11811000"/>
              <a:gd name="connsiteY9" fmla="*/ 0 h 6539864"/>
              <a:gd name="connsiteX10" fmla="*/ 4660455 w 11811000"/>
              <a:gd name="connsiteY10" fmla="*/ 0 h 6539864"/>
              <a:gd name="connsiteX11" fmla="*/ 4984962 w 11811000"/>
              <a:gd name="connsiteY11" fmla="*/ 0 h 6539864"/>
              <a:gd name="connsiteX12" fmla="*/ 5647219 w 11811000"/>
              <a:gd name="connsiteY12" fmla="*/ 0 h 6539864"/>
              <a:gd name="connsiteX13" fmla="*/ 6309477 w 11811000"/>
              <a:gd name="connsiteY13" fmla="*/ 0 h 6539864"/>
              <a:gd name="connsiteX14" fmla="*/ 6971735 w 11811000"/>
              <a:gd name="connsiteY14" fmla="*/ 0 h 6539864"/>
              <a:gd name="connsiteX15" fmla="*/ 7521409 w 11811000"/>
              <a:gd name="connsiteY15" fmla="*/ 0 h 6539864"/>
              <a:gd name="connsiteX16" fmla="*/ 8408834 w 11811000"/>
              <a:gd name="connsiteY16" fmla="*/ 0 h 6539864"/>
              <a:gd name="connsiteX17" fmla="*/ 8958508 w 11811000"/>
              <a:gd name="connsiteY17" fmla="*/ 0 h 6539864"/>
              <a:gd name="connsiteX18" fmla="*/ 9845934 w 11811000"/>
              <a:gd name="connsiteY18" fmla="*/ 0 h 6539864"/>
              <a:gd name="connsiteX19" fmla="*/ 10508191 w 11811000"/>
              <a:gd name="connsiteY19" fmla="*/ 0 h 6539864"/>
              <a:gd name="connsiteX20" fmla="*/ 11534691 w 11811000"/>
              <a:gd name="connsiteY20" fmla="*/ 0 h 6539864"/>
              <a:gd name="connsiteX21" fmla="*/ 11811000 w 11811000"/>
              <a:gd name="connsiteY21" fmla="*/ 276309 h 6539864"/>
              <a:gd name="connsiteX22" fmla="*/ 11811000 w 11811000"/>
              <a:gd name="connsiteY22" fmla="*/ 1001431 h 6539864"/>
              <a:gd name="connsiteX23" fmla="*/ 11811000 w 11811000"/>
              <a:gd name="connsiteY23" fmla="*/ 1546936 h 6539864"/>
              <a:gd name="connsiteX24" fmla="*/ 11811000 w 11811000"/>
              <a:gd name="connsiteY24" fmla="*/ 2212185 h 6539864"/>
              <a:gd name="connsiteX25" fmla="*/ 11811000 w 11811000"/>
              <a:gd name="connsiteY25" fmla="*/ 2997180 h 6539864"/>
              <a:gd name="connsiteX26" fmla="*/ 11811000 w 11811000"/>
              <a:gd name="connsiteY26" fmla="*/ 3482812 h 6539864"/>
              <a:gd name="connsiteX27" fmla="*/ 11811000 w 11811000"/>
              <a:gd name="connsiteY27" fmla="*/ 4028316 h 6539864"/>
              <a:gd name="connsiteX28" fmla="*/ 11811000 w 11811000"/>
              <a:gd name="connsiteY28" fmla="*/ 4693566 h 6539864"/>
              <a:gd name="connsiteX29" fmla="*/ 11811000 w 11811000"/>
              <a:gd name="connsiteY29" fmla="*/ 5179198 h 6539864"/>
              <a:gd name="connsiteX30" fmla="*/ 11811000 w 11811000"/>
              <a:gd name="connsiteY30" fmla="*/ 6263555 h 6539864"/>
              <a:gd name="connsiteX31" fmla="*/ 11534691 w 11811000"/>
              <a:gd name="connsiteY31" fmla="*/ 6539864 h 6539864"/>
              <a:gd name="connsiteX32" fmla="*/ 10647266 w 11811000"/>
              <a:gd name="connsiteY32" fmla="*/ 6539864 h 6539864"/>
              <a:gd name="connsiteX33" fmla="*/ 9985008 w 11811000"/>
              <a:gd name="connsiteY33" fmla="*/ 6539864 h 6539864"/>
              <a:gd name="connsiteX34" fmla="*/ 9435334 w 11811000"/>
              <a:gd name="connsiteY34" fmla="*/ 6539864 h 6539864"/>
              <a:gd name="connsiteX35" fmla="*/ 8998244 w 11811000"/>
              <a:gd name="connsiteY35" fmla="*/ 6539864 h 6539864"/>
              <a:gd name="connsiteX36" fmla="*/ 8448570 w 11811000"/>
              <a:gd name="connsiteY36" fmla="*/ 6539864 h 6539864"/>
              <a:gd name="connsiteX37" fmla="*/ 7673728 w 11811000"/>
              <a:gd name="connsiteY37" fmla="*/ 6539864 h 6539864"/>
              <a:gd name="connsiteX38" fmla="*/ 6898887 w 11811000"/>
              <a:gd name="connsiteY38" fmla="*/ 6539864 h 6539864"/>
              <a:gd name="connsiteX39" fmla="*/ 6574380 w 11811000"/>
              <a:gd name="connsiteY39" fmla="*/ 6539864 h 6539864"/>
              <a:gd name="connsiteX40" fmla="*/ 6024706 w 11811000"/>
              <a:gd name="connsiteY40" fmla="*/ 6539864 h 6539864"/>
              <a:gd name="connsiteX41" fmla="*/ 5475032 w 11811000"/>
              <a:gd name="connsiteY41" fmla="*/ 6539864 h 6539864"/>
              <a:gd name="connsiteX42" fmla="*/ 4812775 w 11811000"/>
              <a:gd name="connsiteY42" fmla="*/ 6539864 h 6539864"/>
              <a:gd name="connsiteX43" fmla="*/ 4263101 w 11811000"/>
              <a:gd name="connsiteY43" fmla="*/ 6539864 h 6539864"/>
              <a:gd name="connsiteX44" fmla="*/ 3375675 w 11811000"/>
              <a:gd name="connsiteY44" fmla="*/ 6539864 h 6539864"/>
              <a:gd name="connsiteX45" fmla="*/ 3051169 w 11811000"/>
              <a:gd name="connsiteY45" fmla="*/ 6539864 h 6539864"/>
              <a:gd name="connsiteX46" fmla="*/ 2388911 w 11811000"/>
              <a:gd name="connsiteY46" fmla="*/ 6539864 h 6539864"/>
              <a:gd name="connsiteX47" fmla="*/ 1614070 w 11811000"/>
              <a:gd name="connsiteY47" fmla="*/ 6539864 h 6539864"/>
              <a:gd name="connsiteX48" fmla="*/ 1064396 w 11811000"/>
              <a:gd name="connsiteY48" fmla="*/ 6539864 h 6539864"/>
              <a:gd name="connsiteX49" fmla="*/ 276309 w 11811000"/>
              <a:gd name="connsiteY49" fmla="*/ 6539864 h 6539864"/>
              <a:gd name="connsiteX50" fmla="*/ 0 w 11811000"/>
              <a:gd name="connsiteY50" fmla="*/ 6263555 h 6539864"/>
              <a:gd name="connsiteX51" fmla="*/ 0 w 11811000"/>
              <a:gd name="connsiteY51" fmla="*/ 5718050 h 6539864"/>
              <a:gd name="connsiteX52" fmla="*/ 0 w 11811000"/>
              <a:gd name="connsiteY52" fmla="*/ 4933056 h 6539864"/>
              <a:gd name="connsiteX53" fmla="*/ 0 w 11811000"/>
              <a:gd name="connsiteY53" fmla="*/ 4267806 h 6539864"/>
              <a:gd name="connsiteX54" fmla="*/ 0 w 11811000"/>
              <a:gd name="connsiteY54" fmla="*/ 3722302 h 6539864"/>
              <a:gd name="connsiteX55" fmla="*/ 0 w 11811000"/>
              <a:gd name="connsiteY55" fmla="*/ 3057052 h 6539864"/>
              <a:gd name="connsiteX56" fmla="*/ 0 w 11811000"/>
              <a:gd name="connsiteY56" fmla="*/ 2272058 h 6539864"/>
              <a:gd name="connsiteX57" fmla="*/ 0 w 11811000"/>
              <a:gd name="connsiteY57" fmla="*/ 1666681 h 6539864"/>
              <a:gd name="connsiteX58" fmla="*/ 0 w 11811000"/>
              <a:gd name="connsiteY58" fmla="*/ 1061303 h 6539864"/>
              <a:gd name="connsiteX59" fmla="*/ 0 w 11811000"/>
              <a:gd name="connsiteY59" fmla="*/ 276309 h 653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811000" h="6539864" fill="none" extrusionOk="0">
                <a:moveTo>
                  <a:pt x="0" y="276309"/>
                </a:moveTo>
                <a:cubicBezTo>
                  <a:pt x="7503" y="117353"/>
                  <a:pt x="120173" y="876"/>
                  <a:pt x="276309" y="0"/>
                </a:cubicBezTo>
                <a:cubicBezTo>
                  <a:pt x="390753" y="-13998"/>
                  <a:pt x="519303" y="7231"/>
                  <a:pt x="713399" y="0"/>
                </a:cubicBezTo>
                <a:cubicBezTo>
                  <a:pt x="907495" y="-7231"/>
                  <a:pt x="921623" y="-3982"/>
                  <a:pt x="1037905" y="0"/>
                </a:cubicBezTo>
                <a:cubicBezTo>
                  <a:pt x="1154187" y="3982"/>
                  <a:pt x="1628628" y="21970"/>
                  <a:pt x="1812747" y="0"/>
                </a:cubicBezTo>
                <a:cubicBezTo>
                  <a:pt x="1996866" y="-21970"/>
                  <a:pt x="2070800" y="10455"/>
                  <a:pt x="2137253" y="0"/>
                </a:cubicBezTo>
                <a:cubicBezTo>
                  <a:pt x="2203706" y="-10455"/>
                  <a:pt x="2459510" y="-21376"/>
                  <a:pt x="2574343" y="0"/>
                </a:cubicBezTo>
                <a:cubicBezTo>
                  <a:pt x="2689176" y="21376"/>
                  <a:pt x="2851821" y="-17883"/>
                  <a:pt x="3124017" y="0"/>
                </a:cubicBezTo>
                <a:cubicBezTo>
                  <a:pt x="3396213" y="17883"/>
                  <a:pt x="3378501" y="-9716"/>
                  <a:pt x="3561108" y="0"/>
                </a:cubicBezTo>
                <a:cubicBezTo>
                  <a:pt x="3743715" y="9716"/>
                  <a:pt x="3957040" y="-22614"/>
                  <a:pt x="4223365" y="0"/>
                </a:cubicBezTo>
                <a:cubicBezTo>
                  <a:pt x="4489690" y="22614"/>
                  <a:pt x="4482566" y="4443"/>
                  <a:pt x="4660455" y="0"/>
                </a:cubicBezTo>
                <a:cubicBezTo>
                  <a:pt x="4838344" y="-4443"/>
                  <a:pt x="4827198" y="13475"/>
                  <a:pt x="4984962" y="0"/>
                </a:cubicBezTo>
                <a:cubicBezTo>
                  <a:pt x="5142726" y="-13475"/>
                  <a:pt x="5408741" y="-32026"/>
                  <a:pt x="5647219" y="0"/>
                </a:cubicBezTo>
                <a:cubicBezTo>
                  <a:pt x="5885697" y="32026"/>
                  <a:pt x="6061324" y="16924"/>
                  <a:pt x="6309477" y="0"/>
                </a:cubicBezTo>
                <a:cubicBezTo>
                  <a:pt x="6557630" y="-16924"/>
                  <a:pt x="6731921" y="21199"/>
                  <a:pt x="6971735" y="0"/>
                </a:cubicBezTo>
                <a:cubicBezTo>
                  <a:pt x="7211549" y="-21199"/>
                  <a:pt x="7410709" y="-22981"/>
                  <a:pt x="7521409" y="0"/>
                </a:cubicBezTo>
                <a:cubicBezTo>
                  <a:pt x="7632109" y="22981"/>
                  <a:pt x="8183644" y="-36572"/>
                  <a:pt x="8408834" y="0"/>
                </a:cubicBezTo>
                <a:cubicBezTo>
                  <a:pt x="8634024" y="36572"/>
                  <a:pt x="8810731" y="464"/>
                  <a:pt x="8958508" y="0"/>
                </a:cubicBezTo>
                <a:cubicBezTo>
                  <a:pt x="9106285" y="-464"/>
                  <a:pt x="9554448" y="-657"/>
                  <a:pt x="9845934" y="0"/>
                </a:cubicBezTo>
                <a:cubicBezTo>
                  <a:pt x="10137420" y="657"/>
                  <a:pt x="10294741" y="3156"/>
                  <a:pt x="10508191" y="0"/>
                </a:cubicBezTo>
                <a:cubicBezTo>
                  <a:pt x="10721641" y="-3156"/>
                  <a:pt x="11169757" y="-23281"/>
                  <a:pt x="11534691" y="0"/>
                </a:cubicBezTo>
                <a:cubicBezTo>
                  <a:pt x="11686405" y="30281"/>
                  <a:pt x="11789483" y="102266"/>
                  <a:pt x="11811000" y="276309"/>
                </a:cubicBezTo>
                <a:cubicBezTo>
                  <a:pt x="11783989" y="629313"/>
                  <a:pt x="11803715" y="849248"/>
                  <a:pt x="11811000" y="1001431"/>
                </a:cubicBezTo>
                <a:cubicBezTo>
                  <a:pt x="11818285" y="1153614"/>
                  <a:pt x="11786666" y="1343496"/>
                  <a:pt x="11811000" y="1546936"/>
                </a:cubicBezTo>
                <a:cubicBezTo>
                  <a:pt x="11835334" y="1750377"/>
                  <a:pt x="11830199" y="1918680"/>
                  <a:pt x="11811000" y="2212185"/>
                </a:cubicBezTo>
                <a:cubicBezTo>
                  <a:pt x="11791801" y="2505690"/>
                  <a:pt x="11778524" y="2743617"/>
                  <a:pt x="11811000" y="2997180"/>
                </a:cubicBezTo>
                <a:cubicBezTo>
                  <a:pt x="11843476" y="3250743"/>
                  <a:pt x="11802263" y="3243832"/>
                  <a:pt x="11811000" y="3482812"/>
                </a:cubicBezTo>
                <a:cubicBezTo>
                  <a:pt x="11819737" y="3721792"/>
                  <a:pt x="11801145" y="3807336"/>
                  <a:pt x="11811000" y="4028316"/>
                </a:cubicBezTo>
                <a:cubicBezTo>
                  <a:pt x="11820855" y="4249296"/>
                  <a:pt x="11824002" y="4522096"/>
                  <a:pt x="11811000" y="4693566"/>
                </a:cubicBezTo>
                <a:cubicBezTo>
                  <a:pt x="11797999" y="4865036"/>
                  <a:pt x="11787768" y="4979749"/>
                  <a:pt x="11811000" y="5179198"/>
                </a:cubicBezTo>
                <a:cubicBezTo>
                  <a:pt x="11834232" y="5378647"/>
                  <a:pt x="11824820" y="5775744"/>
                  <a:pt x="11811000" y="6263555"/>
                </a:cubicBezTo>
                <a:cubicBezTo>
                  <a:pt x="11820168" y="6432874"/>
                  <a:pt x="11693865" y="6527210"/>
                  <a:pt x="11534691" y="6539864"/>
                </a:cubicBezTo>
                <a:cubicBezTo>
                  <a:pt x="11328979" y="6573097"/>
                  <a:pt x="10851794" y="6576898"/>
                  <a:pt x="10647266" y="6539864"/>
                </a:cubicBezTo>
                <a:cubicBezTo>
                  <a:pt x="10442738" y="6502830"/>
                  <a:pt x="10188245" y="6536482"/>
                  <a:pt x="9985008" y="6539864"/>
                </a:cubicBezTo>
                <a:cubicBezTo>
                  <a:pt x="9781771" y="6543246"/>
                  <a:pt x="9655399" y="6535718"/>
                  <a:pt x="9435334" y="6539864"/>
                </a:cubicBezTo>
                <a:cubicBezTo>
                  <a:pt x="9215269" y="6544010"/>
                  <a:pt x="9174278" y="6521901"/>
                  <a:pt x="8998244" y="6539864"/>
                </a:cubicBezTo>
                <a:cubicBezTo>
                  <a:pt x="8822210" y="6557828"/>
                  <a:pt x="8695160" y="6523053"/>
                  <a:pt x="8448570" y="6539864"/>
                </a:cubicBezTo>
                <a:cubicBezTo>
                  <a:pt x="8201980" y="6556675"/>
                  <a:pt x="8057062" y="6549860"/>
                  <a:pt x="7673728" y="6539864"/>
                </a:cubicBezTo>
                <a:cubicBezTo>
                  <a:pt x="7290394" y="6529868"/>
                  <a:pt x="7073721" y="6518109"/>
                  <a:pt x="6898887" y="6539864"/>
                </a:cubicBezTo>
                <a:cubicBezTo>
                  <a:pt x="6724053" y="6561619"/>
                  <a:pt x="6673636" y="6542743"/>
                  <a:pt x="6574380" y="6539864"/>
                </a:cubicBezTo>
                <a:cubicBezTo>
                  <a:pt x="6475124" y="6536985"/>
                  <a:pt x="6236107" y="6527822"/>
                  <a:pt x="6024706" y="6539864"/>
                </a:cubicBezTo>
                <a:cubicBezTo>
                  <a:pt x="5813305" y="6551906"/>
                  <a:pt x="5730978" y="6561993"/>
                  <a:pt x="5475032" y="6539864"/>
                </a:cubicBezTo>
                <a:cubicBezTo>
                  <a:pt x="5219086" y="6517735"/>
                  <a:pt x="5099294" y="6527365"/>
                  <a:pt x="4812775" y="6539864"/>
                </a:cubicBezTo>
                <a:cubicBezTo>
                  <a:pt x="4526256" y="6552363"/>
                  <a:pt x="4495982" y="6543126"/>
                  <a:pt x="4263101" y="6539864"/>
                </a:cubicBezTo>
                <a:cubicBezTo>
                  <a:pt x="4030220" y="6536602"/>
                  <a:pt x="3784956" y="6574385"/>
                  <a:pt x="3375675" y="6539864"/>
                </a:cubicBezTo>
                <a:cubicBezTo>
                  <a:pt x="2966394" y="6505343"/>
                  <a:pt x="3135924" y="6527838"/>
                  <a:pt x="3051169" y="6539864"/>
                </a:cubicBezTo>
                <a:cubicBezTo>
                  <a:pt x="2966414" y="6551890"/>
                  <a:pt x="2690961" y="6524046"/>
                  <a:pt x="2388911" y="6539864"/>
                </a:cubicBezTo>
                <a:cubicBezTo>
                  <a:pt x="2086861" y="6555682"/>
                  <a:pt x="1863389" y="6540751"/>
                  <a:pt x="1614070" y="6539864"/>
                </a:cubicBezTo>
                <a:cubicBezTo>
                  <a:pt x="1364751" y="6538977"/>
                  <a:pt x="1291765" y="6521886"/>
                  <a:pt x="1064396" y="6539864"/>
                </a:cubicBezTo>
                <a:cubicBezTo>
                  <a:pt x="837027" y="6557842"/>
                  <a:pt x="547291" y="6542932"/>
                  <a:pt x="276309" y="6539864"/>
                </a:cubicBezTo>
                <a:cubicBezTo>
                  <a:pt x="130934" y="6520487"/>
                  <a:pt x="-22581" y="6398236"/>
                  <a:pt x="0" y="6263555"/>
                </a:cubicBezTo>
                <a:cubicBezTo>
                  <a:pt x="4468" y="6084194"/>
                  <a:pt x="-2016" y="5887631"/>
                  <a:pt x="0" y="5718050"/>
                </a:cubicBezTo>
                <a:cubicBezTo>
                  <a:pt x="2016" y="5548469"/>
                  <a:pt x="17236" y="5177974"/>
                  <a:pt x="0" y="4933056"/>
                </a:cubicBezTo>
                <a:cubicBezTo>
                  <a:pt x="-17236" y="4688138"/>
                  <a:pt x="30289" y="4592748"/>
                  <a:pt x="0" y="4267806"/>
                </a:cubicBezTo>
                <a:cubicBezTo>
                  <a:pt x="-30289" y="3942864"/>
                  <a:pt x="-14872" y="3895665"/>
                  <a:pt x="0" y="3722302"/>
                </a:cubicBezTo>
                <a:cubicBezTo>
                  <a:pt x="14872" y="3548939"/>
                  <a:pt x="-12413" y="3380923"/>
                  <a:pt x="0" y="3057052"/>
                </a:cubicBezTo>
                <a:cubicBezTo>
                  <a:pt x="12413" y="2733181"/>
                  <a:pt x="25179" y="2623577"/>
                  <a:pt x="0" y="2272058"/>
                </a:cubicBezTo>
                <a:cubicBezTo>
                  <a:pt x="-25179" y="1920539"/>
                  <a:pt x="5940" y="1924738"/>
                  <a:pt x="0" y="1666681"/>
                </a:cubicBezTo>
                <a:cubicBezTo>
                  <a:pt x="-5940" y="1408624"/>
                  <a:pt x="21070" y="1224865"/>
                  <a:pt x="0" y="1061303"/>
                </a:cubicBezTo>
                <a:cubicBezTo>
                  <a:pt x="-21070" y="897741"/>
                  <a:pt x="38394" y="533993"/>
                  <a:pt x="0" y="276309"/>
                </a:cubicBezTo>
                <a:close/>
              </a:path>
              <a:path w="11811000" h="6539864" stroke="0" extrusionOk="0">
                <a:moveTo>
                  <a:pt x="0" y="276309"/>
                </a:moveTo>
                <a:cubicBezTo>
                  <a:pt x="20890" y="133639"/>
                  <a:pt x="93626" y="-23293"/>
                  <a:pt x="276309" y="0"/>
                </a:cubicBezTo>
                <a:cubicBezTo>
                  <a:pt x="495014" y="-6512"/>
                  <a:pt x="781700" y="14060"/>
                  <a:pt x="938567" y="0"/>
                </a:cubicBezTo>
                <a:cubicBezTo>
                  <a:pt x="1095434" y="-14060"/>
                  <a:pt x="1317075" y="-3727"/>
                  <a:pt x="1488241" y="0"/>
                </a:cubicBezTo>
                <a:cubicBezTo>
                  <a:pt x="1659407" y="3727"/>
                  <a:pt x="1740036" y="-9857"/>
                  <a:pt x="1812747" y="0"/>
                </a:cubicBezTo>
                <a:cubicBezTo>
                  <a:pt x="1885458" y="9857"/>
                  <a:pt x="2298351" y="-29244"/>
                  <a:pt x="2587589" y="0"/>
                </a:cubicBezTo>
                <a:cubicBezTo>
                  <a:pt x="2876827" y="29244"/>
                  <a:pt x="3156670" y="38040"/>
                  <a:pt x="3362430" y="0"/>
                </a:cubicBezTo>
                <a:cubicBezTo>
                  <a:pt x="3568190" y="-38040"/>
                  <a:pt x="3537636" y="-3311"/>
                  <a:pt x="3686936" y="0"/>
                </a:cubicBezTo>
                <a:cubicBezTo>
                  <a:pt x="3836236" y="3311"/>
                  <a:pt x="4174849" y="-33726"/>
                  <a:pt x="4574362" y="0"/>
                </a:cubicBezTo>
                <a:cubicBezTo>
                  <a:pt x="4973875" y="33726"/>
                  <a:pt x="4799209" y="-8541"/>
                  <a:pt x="4898868" y="0"/>
                </a:cubicBezTo>
                <a:cubicBezTo>
                  <a:pt x="4998527" y="8541"/>
                  <a:pt x="5398846" y="16779"/>
                  <a:pt x="5561126" y="0"/>
                </a:cubicBezTo>
                <a:cubicBezTo>
                  <a:pt x="5723406" y="-16779"/>
                  <a:pt x="5908484" y="20871"/>
                  <a:pt x="5998216" y="0"/>
                </a:cubicBezTo>
                <a:cubicBezTo>
                  <a:pt x="6087948" y="-20871"/>
                  <a:pt x="6401464" y="-28369"/>
                  <a:pt x="6773058" y="0"/>
                </a:cubicBezTo>
                <a:cubicBezTo>
                  <a:pt x="7144652" y="28369"/>
                  <a:pt x="7025774" y="9082"/>
                  <a:pt x="7210148" y="0"/>
                </a:cubicBezTo>
                <a:cubicBezTo>
                  <a:pt x="7394522" y="-9082"/>
                  <a:pt x="7438945" y="-16116"/>
                  <a:pt x="7534654" y="0"/>
                </a:cubicBezTo>
                <a:cubicBezTo>
                  <a:pt x="7630363" y="16116"/>
                  <a:pt x="7995229" y="15477"/>
                  <a:pt x="8422080" y="0"/>
                </a:cubicBezTo>
                <a:cubicBezTo>
                  <a:pt x="8848931" y="-15477"/>
                  <a:pt x="8934132" y="37097"/>
                  <a:pt x="9309505" y="0"/>
                </a:cubicBezTo>
                <a:cubicBezTo>
                  <a:pt x="9684879" y="-37097"/>
                  <a:pt x="9898525" y="23021"/>
                  <a:pt x="10084346" y="0"/>
                </a:cubicBezTo>
                <a:cubicBezTo>
                  <a:pt x="10270167" y="-23021"/>
                  <a:pt x="10295875" y="-10612"/>
                  <a:pt x="10408853" y="0"/>
                </a:cubicBezTo>
                <a:cubicBezTo>
                  <a:pt x="10521831" y="10612"/>
                  <a:pt x="11060954" y="2622"/>
                  <a:pt x="11534691" y="0"/>
                </a:cubicBezTo>
                <a:cubicBezTo>
                  <a:pt x="11669686" y="-5469"/>
                  <a:pt x="11776528" y="132029"/>
                  <a:pt x="11811000" y="276309"/>
                </a:cubicBezTo>
                <a:cubicBezTo>
                  <a:pt x="11796287" y="442217"/>
                  <a:pt x="11822438" y="627172"/>
                  <a:pt x="11811000" y="881686"/>
                </a:cubicBezTo>
                <a:cubicBezTo>
                  <a:pt x="11799562" y="1136200"/>
                  <a:pt x="11835797" y="1259062"/>
                  <a:pt x="11811000" y="1606808"/>
                </a:cubicBezTo>
                <a:cubicBezTo>
                  <a:pt x="11786203" y="1954554"/>
                  <a:pt x="11826705" y="1905102"/>
                  <a:pt x="11811000" y="2092440"/>
                </a:cubicBezTo>
                <a:cubicBezTo>
                  <a:pt x="11795295" y="2279778"/>
                  <a:pt x="11819552" y="2521674"/>
                  <a:pt x="11811000" y="2637945"/>
                </a:cubicBezTo>
                <a:cubicBezTo>
                  <a:pt x="11802448" y="2754217"/>
                  <a:pt x="11808331" y="3036282"/>
                  <a:pt x="11811000" y="3183450"/>
                </a:cubicBezTo>
                <a:cubicBezTo>
                  <a:pt x="11813669" y="3330618"/>
                  <a:pt x="11778432" y="3640433"/>
                  <a:pt x="11811000" y="3908572"/>
                </a:cubicBezTo>
                <a:cubicBezTo>
                  <a:pt x="11843568" y="4176711"/>
                  <a:pt x="11823783" y="4494357"/>
                  <a:pt x="11811000" y="4693566"/>
                </a:cubicBezTo>
                <a:cubicBezTo>
                  <a:pt x="11798217" y="4892775"/>
                  <a:pt x="11823835" y="4947328"/>
                  <a:pt x="11811000" y="5179198"/>
                </a:cubicBezTo>
                <a:cubicBezTo>
                  <a:pt x="11798165" y="5411068"/>
                  <a:pt x="11813056" y="6014585"/>
                  <a:pt x="11811000" y="6263555"/>
                </a:cubicBezTo>
                <a:cubicBezTo>
                  <a:pt x="11786682" y="6409302"/>
                  <a:pt x="11669488" y="6539305"/>
                  <a:pt x="11534691" y="6539864"/>
                </a:cubicBezTo>
                <a:cubicBezTo>
                  <a:pt x="11241971" y="6564579"/>
                  <a:pt x="11001665" y="6543078"/>
                  <a:pt x="10759849" y="6539864"/>
                </a:cubicBezTo>
                <a:cubicBezTo>
                  <a:pt x="10518033" y="6536650"/>
                  <a:pt x="10559413" y="6543082"/>
                  <a:pt x="10435343" y="6539864"/>
                </a:cubicBezTo>
                <a:cubicBezTo>
                  <a:pt x="10311273" y="6536646"/>
                  <a:pt x="9934938" y="6519704"/>
                  <a:pt x="9773085" y="6539864"/>
                </a:cubicBezTo>
                <a:cubicBezTo>
                  <a:pt x="9611232" y="6560024"/>
                  <a:pt x="9192404" y="6500085"/>
                  <a:pt x="8885660" y="6539864"/>
                </a:cubicBezTo>
                <a:cubicBezTo>
                  <a:pt x="8578917" y="6579643"/>
                  <a:pt x="8394840" y="6512723"/>
                  <a:pt x="7998235" y="6539864"/>
                </a:cubicBezTo>
                <a:cubicBezTo>
                  <a:pt x="7601631" y="6567005"/>
                  <a:pt x="7508469" y="6516653"/>
                  <a:pt x="7110809" y="6539864"/>
                </a:cubicBezTo>
                <a:cubicBezTo>
                  <a:pt x="6713149" y="6563075"/>
                  <a:pt x="6641706" y="6525084"/>
                  <a:pt x="6223384" y="6539864"/>
                </a:cubicBezTo>
                <a:cubicBezTo>
                  <a:pt x="5805062" y="6554644"/>
                  <a:pt x="5941608" y="6557619"/>
                  <a:pt x="5786294" y="6539864"/>
                </a:cubicBezTo>
                <a:cubicBezTo>
                  <a:pt x="5630980" y="6522110"/>
                  <a:pt x="5448053" y="6519195"/>
                  <a:pt x="5124036" y="6539864"/>
                </a:cubicBezTo>
                <a:cubicBezTo>
                  <a:pt x="4800019" y="6560533"/>
                  <a:pt x="4946688" y="6554373"/>
                  <a:pt x="4799530" y="6539864"/>
                </a:cubicBezTo>
                <a:cubicBezTo>
                  <a:pt x="4652372" y="6525355"/>
                  <a:pt x="4467671" y="6562976"/>
                  <a:pt x="4137272" y="6539864"/>
                </a:cubicBezTo>
                <a:cubicBezTo>
                  <a:pt x="3806873" y="6516752"/>
                  <a:pt x="3931886" y="6542919"/>
                  <a:pt x="3812765" y="6539864"/>
                </a:cubicBezTo>
                <a:cubicBezTo>
                  <a:pt x="3693644" y="6536809"/>
                  <a:pt x="3472379" y="6533770"/>
                  <a:pt x="3375675" y="6539864"/>
                </a:cubicBezTo>
                <a:cubicBezTo>
                  <a:pt x="3278971" y="6545959"/>
                  <a:pt x="2974375" y="6567147"/>
                  <a:pt x="2826001" y="6539864"/>
                </a:cubicBezTo>
                <a:cubicBezTo>
                  <a:pt x="2677627" y="6512581"/>
                  <a:pt x="2494363" y="6571312"/>
                  <a:pt x="2163744" y="6539864"/>
                </a:cubicBezTo>
                <a:cubicBezTo>
                  <a:pt x="1833125" y="6508416"/>
                  <a:pt x="1977346" y="6554881"/>
                  <a:pt x="1839237" y="6539864"/>
                </a:cubicBezTo>
                <a:cubicBezTo>
                  <a:pt x="1701128" y="6524847"/>
                  <a:pt x="1150916" y="6583885"/>
                  <a:pt x="951812" y="6539864"/>
                </a:cubicBezTo>
                <a:cubicBezTo>
                  <a:pt x="752708" y="6495843"/>
                  <a:pt x="593978" y="6526984"/>
                  <a:pt x="276309" y="6539864"/>
                </a:cubicBezTo>
                <a:cubicBezTo>
                  <a:pt x="135821" y="6523812"/>
                  <a:pt x="4350" y="6397773"/>
                  <a:pt x="0" y="6263555"/>
                </a:cubicBezTo>
                <a:cubicBezTo>
                  <a:pt x="-22309" y="6002412"/>
                  <a:pt x="2125" y="5785703"/>
                  <a:pt x="0" y="5658178"/>
                </a:cubicBezTo>
                <a:cubicBezTo>
                  <a:pt x="-2125" y="5530653"/>
                  <a:pt x="36191" y="5289459"/>
                  <a:pt x="0" y="4933056"/>
                </a:cubicBezTo>
                <a:cubicBezTo>
                  <a:pt x="-36191" y="4576653"/>
                  <a:pt x="-10199" y="4459738"/>
                  <a:pt x="0" y="4267806"/>
                </a:cubicBezTo>
                <a:cubicBezTo>
                  <a:pt x="10199" y="4075874"/>
                  <a:pt x="4354" y="3802315"/>
                  <a:pt x="0" y="3662429"/>
                </a:cubicBezTo>
                <a:cubicBezTo>
                  <a:pt x="-4354" y="3522543"/>
                  <a:pt x="-9180" y="3356004"/>
                  <a:pt x="0" y="3176797"/>
                </a:cubicBezTo>
                <a:cubicBezTo>
                  <a:pt x="9180" y="2997590"/>
                  <a:pt x="13449" y="2662145"/>
                  <a:pt x="0" y="2391803"/>
                </a:cubicBezTo>
                <a:cubicBezTo>
                  <a:pt x="-13449" y="2121461"/>
                  <a:pt x="21648" y="2032854"/>
                  <a:pt x="0" y="1906170"/>
                </a:cubicBezTo>
                <a:cubicBezTo>
                  <a:pt x="-21648" y="1779486"/>
                  <a:pt x="15691" y="1378683"/>
                  <a:pt x="0" y="1121176"/>
                </a:cubicBezTo>
                <a:cubicBezTo>
                  <a:pt x="-15691" y="863669"/>
                  <a:pt x="19462" y="681739"/>
                  <a:pt x="0" y="276309"/>
                </a:cubicBezTo>
                <a:close/>
              </a:path>
            </a:pathLst>
          </a:custGeom>
          <a:solidFill>
            <a:schemeClr val="bg1">
              <a:alpha val="98000"/>
            </a:schemeClr>
          </a:solidFill>
          <a:ln w="19050">
            <a:solidFill>
              <a:schemeClr val="accent2">
                <a:lumMod val="75000"/>
              </a:schemeClr>
            </a:solidFill>
            <a:prstDash val="lgDash"/>
            <a:extLst>
              <a:ext uri="{C807C97D-BFC1-408E-A445-0C87EB9F89A2}">
                <ask:lineSketchStyleProps xmlns:ask="http://schemas.microsoft.com/office/drawing/2018/sketchyshapes" xmlns="" sd="1860289983">
                  <a:prstGeom prst="roundRect">
                    <a:avLst>
                      <a:gd name="adj" fmla="val 4225"/>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9Slide02 Noi dung dai"/>
              <a:ea typeface="+mn-ea"/>
              <a:cs typeface="+mn-cs"/>
            </a:endParaRPr>
          </a:p>
        </p:txBody>
      </p:sp>
    </p:spTree>
    <p:extLst>
      <p:ext uri="{BB962C8B-B14F-4D97-AF65-F5344CB8AC3E}">
        <p14:creationId xmlns:p14="http://schemas.microsoft.com/office/powerpoint/2010/main" val="226567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2C063-6317-449C-A341-883F2682D4C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5D53C2C5-1069-41AD-AB8E-A272B5F74D0D}"/>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a:extLst>
              <a:ext uri="{FF2B5EF4-FFF2-40B4-BE49-F238E27FC236}">
                <a16:creationId xmlns:a16="http://schemas.microsoft.com/office/drawing/2014/main" id="{B335F9C6-7A1E-4BB1-8382-AF2048FA93AE}"/>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A2CF1DA-3491-456F-B971-C43EFCD2163E}"/>
              </a:ext>
            </a:extLst>
          </p:cNvPr>
          <p:cNvSpPr>
            <a:spLocks noGrp="1"/>
          </p:cNvSpPr>
          <p:nvPr>
            <p:ph type="dt" sz="half" idx="10"/>
          </p:nvPr>
        </p:nvSpPr>
        <p:spPr>
          <a:xfrm>
            <a:off x="838200" y="6356350"/>
            <a:ext cx="2743200" cy="365125"/>
          </a:xfrm>
          <a:prstGeom prst="rect">
            <a:avLst/>
          </a:prstGeom>
        </p:spPr>
        <p:txBody>
          <a:bodyPr/>
          <a:lstStyle/>
          <a:p>
            <a:fld id="{E69B9EE9-F3BF-4B40-83E7-C9BC68FDDB0E}" type="datetimeFigureOut">
              <a:rPr lang="en-US" smtClean="0"/>
              <a:t>12/27/2025</a:t>
            </a:fld>
            <a:endParaRPr lang="en-US"/>
          </a:p>
        </p:txBody>
      </p:sp>
      <p:sp>
        <p:nvSpPr>
          <p:cNvPr id="6" name="Footer Placeholder 5">
            <a:extLst>
              <a:ext uri="{FF2B5EF4-FFF2-40B4-BE49-F238E27FC236}">
                <a16:creationId xmlns:a16="http://schemas.microsoft.com/office/drawing/2014/main" id="{A2D613E6-C32A-4783-9219-260167E50D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3F57CA7-22C9-4637-98D5-45CB81C4CD6F}"/>
              </a:ext>
            </a:extLst>
          </p:cNvPr>
          <p:cNvSpPr>
            <a:spLocks noGrp="1"/>
          </p:cNvSpPr>
          <p:nvPr>
            <p:ph type="sldNum" sz="quarter" idx="12"/>
          </p:nvPr>
        </p:nvSpPr>
        <p:spPr>
          <a:xfrm>
            <a:off x="8610600" y="6356350"/>
            <a:ext cx="2743200" cy="365125"/>
          </a:xfrm>
          <a:prstGeom prst="rect">
            <a:avLst/>
          </a:prstGeom>
        </p:spPr>
        <p:txBody>
          <a:bodyPr/>
          <a:lstStyle/>
          <a:p>
            <a:fld id="{17F55963-6440-4C45-BA09-4E6A99D1BBE0}" type="slidenum">
              <a:rPr lang="en-US" smtClean="0"/>
              <a:t>‹#›</a:t>
            </a:fld>
            <a:endParaRPr lang="en-US"/>
          </a:p>
        </p:txBody>
      </p:sp>
    </p:spTree>
    <p:extLst>
      <p:ext uri="{BB962C8B-B14F-4D97-AF65-F5344CB8AC3E}">
        <p14:creationId xmlns:p14="http://schemas.microsoft.com/office/powerpoint/2010/main" val="425257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C8BC-CF44-4FCD-ACB9-6C06E1FD0DA3}"/>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FE26985-A785-4717-80AD-9B8D8F5B85B1}"/>
              </a:ext>
            </a:extLst>
          </p:cNvPr>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305A630-F12E-492E-A3AD-AE8A23606B49}"/>
              </a:ext>
            </a:extLst>
          </p:cNvPr>
          <p:cNvSpPr>
            <a:spLocks noGrp="1"/>
          </p:cNvSpPr>
          <p:nvPr>
            <p:ph type="dt" sz="half" idx="10"/>
          </p:nvPr>
        </p:nvSpPr>
        <p:spPr>
          <a:xfrm>
            <a:off x="838200" y="6356350"/>
            <a:ext cx="2743200" cy="365125"/>
          </a:xfrm>
          <a:prstGeom prst="rect">
            <a:avLst/>
          </a:prstGeom>
        </p:spPr>
        <p:txBody>
          <a:bodyPr/>
          <a:lstStyle/>
          <a:p>
            <a:fld id="{E69B9EE9-F3BF-4B40-83E7-C9BC68FDDB0E}" type="datetimeFigureOut">
              <a:rPr lang="en-US" smtClean="0"/>
              <a:t>12/27/2025</a:t>
            </a:fld>
            <a:endParaRPr lang="en-US"/>
          </a:p>
        </p:txBody>
      </p:sp>
      <p:sp>
        <p:nvSpPr>
          <p:cNvPr id="5" name="Footer Placeholder 4">
            <a:extLst>
              <a:ext uri="{FF2B5EF4-FFF2-40B4-BE49-F238E27FC236}">
                <a16:creationId xmlns:a16="http://schemas.microsoft.com/office/drawing/2014/main" id="{7F5C2166-B6AA-4084-B4D7-069DDC982D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0C20EA2-78ED-4391-B2FB-25000FDBCAA6}"/>
              </a:ext>
            </a:extLst>
          </p:cNvPr>
          <p:cNvSpPr>
            <a:spLocks noGrp="1"/>
          </p:cNvSpPr>
          <p:nvPr>
            <p:ph type="sldNum" sz="quarter" idx="12"/>
          </p:nvPr>
        </p:nvSpPr>
        <p:spPr>
          <a:xfrm>
            <a:off x="8610600" y="6356350"/>
            <a:ext cx="2743200" cy="365125"/>
          </a:xfrm>
          <a:prstGeom prst="rect">
            <a:avLst/>
          </a:prstGeom>
        </p:spPr>
        <p:txBody>
          <a:bodyPr/>
          <a:lstStyle/>
          <a:p>
            <a:fld id="{17F55963-6440-4C45-BA09-4E6A99D1BBE0}" type="slidenum">
              <a:rPr lang="en-US" smtClean="0"/>
              <a:t>‹#›</a:t>
            </a:fld>
            <a:endParaRPr lang="en-US"/>
          </a:p>
        </p:txBody>
      </p:sp>
    </p:spTree>
    <p:extLst>
      <p:ext uri="{BB962C8B-B14F-4D97-AF65-F5344CB8AC3E}">
        <p14:creationId xmlns:p14="http://schemas.microsoft.com/office/powerpoint/2010/main" val="291973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57655-97DA-43C5-A933-CCBB5872617C}"/>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E8E41CC-CE09-4D30-8B09-622FBD9F3C95}"/>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358DA9D-CAB5-4707-8787-95551FD1F2C1}"/>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5" name="Footer Placeholder 4">
            <a:extLst>
              <a:ext uri="{FF2B5EF4-FFF2-40B4-BE49-F238E27FC236}">
                <a16:creationId xmlns:a16="http://schemas.microsoft.com/office/drawing/2014/main" id="{05702276-F758-4978-A92A-7F0C039F784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56030D2-CC1A-4F13-AC11-D0AFEEDE76FC}"/>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pic>
        <p:nvPicPr>
          <p:cNvPr id="7" name="Picture 6">
            <a:extLst>
              <a:ext uri="{FF2B5EF4-FFF2-40B4-BE49-F238E27FC236}">
                <a16:creationId xmlns:a16="http://schemas.microsoft.com/office/drawing/2014/main" id="{92D39983-C7FF-42C9-ACE8-390B84157F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503553" y="-1278286"/>
            <a:ext cx="5351206" cy="5351206"/>
          </a:xfrm>
          <a:prstGeom prst="ellipse">
            <a:avLst/>
          </a:prstGeom>
          <a:ln>
            <a:noFill/>
          </a:ln>
          <a:effectLst>
            <a:softEdge rad="112500"/>
          </a:effectLst>
        </p:spPr>
      </p:pic>
      <p:pic>
        <p:nvPicPr>
          <p:cNvPr id="8" name="Picture 7">
            <a:extLst>
              <a:ext uri="{FF2B5EF4-FFF2-40B4-BE49-F238E27FC236}">
                <a16:creationId xmlns:a16="http://schemas.microsoft.com/office/drawing/2014/main" id="{62C6E1CE-2177-4937-B693-6511C800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8830" y="-26373486"/>
            <a:ext cx="5351206" cy="5351206"/>
          </a:xfrm>
          <a:prstGeom prst="ellipse">
            <a:avLst/>
          </a:prstGeom>
          <a:ln>
            <a:noFill/>
          </a:ln>
          <a:effectLst>
            <a:softEdge rad="112500"/>
          </a:effectLst>
        </p:spPr>
      </p:pic>
      <p:pic>
        <p:nvPicPr>
          <p:cNvPr id="9" name="Picture 8">
            <a:extLst>
              <a:ext uri="{FF2B5EF4-FFF2-40B4-BE49-F238E27FC236}">
                <a16:creationId xmlns:a16="http://schemas.microsoft.com/office/drawing/2014/main" id="{172EBE30-2471-4A87-8421-225B8B82CE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38601" y="20768914"/>
            <a:ext cx="5351206" cy="5351206"/>
          </a:xfrm>
          <a:prstGeom prst="ellipse">
            <a:avLst/>
          </a:prstGeom>
          <a:ln>
            <a:noFill/>
          </a:ln>
          <a:effectLst>
            <a:softEdge rad="112500"/>
          </a:effectLst>
        </p:spPr>
      </p:pic>
      <p:pic>
        <p:nvPicPr>
          <p:cNvPr id="10" name="Picture 9">
            <a:extLst>
              <a:ext uri="{FF2B5EF4-FFF2-40B4-BE49-F238E27FC236}">
                <a16:creationId xmlns:a16="http://schemas.microsoft.com/office/drawing/2014/main" id="{9CB0DCD7-BBB5-46FB-ACDA-75A222210F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506946" y="-2926613"/>
            <a:ext cx="5351206" cy="5351206"/>
          </a:xfrm>
          <a:prstGeom prst="ellipse">
            <a:avLst/>
          </a:prstGeom>
          <a:ln>
            <a:noFill/>
          </a:ln>
          <a:effectLst>
            <a:softEdge rad="112500"/>
          </a:effectLst>
        </p:spPr>
      </p:pic>
    </p:spTree>
    <p:extLst>
      <p:ext uri="{BB962C8B-B14F-4D97-AF65-F5344CB8AC3E}">
        <p14:creationId xmlns:p14="http://schemas.microsoft.com/office/powerpoint/2010/main" val="312995032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8F3D5-C67B-4958-9D00-2DF3BA7AF81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2326470A-311A-4751-9E10-68D4A048AA95}"/>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7A5D3E3-82E1-49C3-A3B0-EB4E5A3AF587}"/>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BA89A2-9BC2-4D6C-BB59-04252C132996}"/>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6" name="Footer Placeholder 5">
            <a:extLst>
              <a:ext uri="{FF2B5EF4-FFF2-40B4-BE49-F238E27FC236}">
                <a16:creationId xmlns:a16="http://schemas.microsoft.com/office/drawing/2014/main" id="{9D016A68-F96E-46E6-A4FC-8E3944B6ED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1DA86D1-9958-41BD-89DF-B0EEAE4B99E1}"/>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pic>
        <p:nvPicPr>
          <p:cNvPr id="8" name="Picture 7">
            <a:extLst>
              <a:ext uri="{FF2B5EF4-FFF2-40B4-BE49-F238E27FC236}">
                <a16:creationId xmlns:a16="http://schemas.microsoft.com/office/drawing/2014/main" id="{C9F78F9D-5695-4176-9860-610E33FBA6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503553" y="-1278286"/>
            <a:ext cx="5351206" cy="5351206"/>
          </a:xfrm>
          <a:prstGeom prst="ellipse">
            <a:avLst/>
          </a:prstGeom>
          <a:ln>
            <a:noFill/>
          </a:ln>
          <a:effectLst>
            <a:softEdge rad="112500"/>
          </a:effectLst>
        </p:spPr>
      </p:pic>
      <p:pic>
        <p:nvPicPr>
          <p:cNvPr id="9" name="Picture 8">
            <a:extLst>
              <a:ext uri="{FF2B5EF4-FFF2-40B4-BE49-F238E27FC236}">
                <a16:creationId xmlns:a16="http://schemas.microsoft.com/office/drawing/2014/main" id="{ED68D350-2719-4986-A6D8-FDA3063F2A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8830" y="-26373486"/>
            <a:ext cx="5351206" cy="5351206"/>
          </a:xfrm>
          <a:prstGeom prst="ellipse">
            <a:avLst/>
          </a:prstGeom>
          <a:ln>
            <a:noFill/>
          </a:ln>
          <a:effectLst>
            <a:softEdge rad="112500"/>
          </a:effectLst>
        </p:spPr>
      </p:pic>
      <p:pic>
        <p:nvPicPr>
          <p:cNvPr id="10" name="Picture 9">
            <a:extLst>
              <a:ext uri="{FF2B5EF4-FFF2-40B4-BE49-F238E27FC236}">
                <a16:creationId xmlns:a16="http://schemas.microsoft.com/office/drawing/2014/main" id="{A068030B-2281-4C59-8E63-5825BFEFA0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38601" y="20768914"/>
            <a:ext cx="5351206" cy="5351206"/>
          </a:xfrm>
          <a:prstGeom prst="ellipse">
            <a:avLst/>
          </a:prstGeom>
          <a:ln>
            <a:noFill/>
          </a:ln>
          <a:effectLst>
            <a:softEdge rad="112500"/>
          </a:effectLst>
        </p:spPr>
      </p:pic>
      <p:pic>
        <p:nvPicPr>
          <p:cNvPr id="11" name="Picture 10">
            <a:extLst>
              <a:ext uri="{FF2B5EF4-FFF2-40B4-BE49-F238E27FC236}">
                <a16:creationId xmlns:a16="http://schemas.microsoft.com/office/drawing/2014/main" id="{EE0EB83D-92D7-4265-945F-FDF077964E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506946" y="-2926613"/>
            <a:ext cx="5351206" cy="5351206"/>
          </a:xfrm>
          <a:prstGeom prst="ellipse">
            <a:avLst/>
          </a:prstGeom>
          <a:ln>
            <a:noFill/>
          </a:ln>
          <a:effectLst>
            <a:softEdge rad="112500"/>
          </a:effectLst>
        </p:spPr>
      </p:pic>
    </p:spTree>
    <p:extLst>
      <p:ext uri="{BB962C8B-B14F-4D97-AF65-F5344CB8AC3E}">
        <p14:creationId xmlns:p14="http://schemas.microsoft.com/office/powerpoint/2010/main" val="343584371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8D46E-1861-424C-BCD1-CB5F645E1FE5}"/>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AA687E50-495C-4D09-B8A6-A806EF62CA35}"/>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91743F0-DA56-4070-AB26-8277DB846770}"/>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307002-DE91-4AE9-85AE-C9235E6684BD}"/>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C5FBBAD-907D-4F4D-BD18-B0E123446F4D}"/>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A995981-2947-49B6-95AD-91F94B0678F2}"/>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8" name="Footer Placeholder 7">
            <a:extLst>
              <a:ext uri="{FF2B5EF4-FFF2-40B4-BE49-F238E27FC236}">
                <a16:creationId xmlns:a16="http://schemas.microsoft.com/office/drawing/2014/main" id="{B77A57CC-9FB5-46F4-B879-65D821D8CCB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C49049F7-4F73-4CEB-8077-3907710126AC}"/>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pic>
        <p:nvPicPr>
          <p:cNvPr id="10" name="Picture 9">
            <a:extLst>
              <a:ext uri="{FF2B5EF4-FFF2-40B4-BE49-F238E27FC236}">
                <a16:creationId xmlns:a16="http://schemas.microsoft.com/office/drawing/2014/main" id="{86AEC805-EE71-4385-8FF9-85AF33D6D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503553" y="-1278286"/>
            <a:ext cx="5351206" cy="5351206"/>
          </a:xfrm>
          <a:prstGeom prst="ellipse">
            <a:avLst/>
          </a:prstGeom>
          <a:ln>
            <a:noFill/>
          </a:ln>
          <a:effectLst>
            <a:softEdge rad="112500"/>
          </a:effectLst>
        </p:spPr>
      </p:pic>
      <p:pic>
        <p:nvPicPr>
          <p:cNvPr id="11" name="Picture 10">
            <a:extLst>
              <a:ext uri="{FF2B5EF4-FFF2-40B4-BE49-F238E27FC236}">
                <a16:creationId xmlns:a16="http://schemas.microsoft.com/office/drawing/2014/main" id="{F1DF7AC7-6FA5-4D0F-8E10-391F926548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8830" y="-26373486"/>
            <a:ext cx="5351206" cy="5351206"/>
          </a:xfrm>
          <a:prstGeom prst="ellipse">
            <a:avLst/>
          </a:prstGeom>
          <a:ln>
            <a:noFill/>
          </a:ln>
          <a:effectLst>
            <a:softEdge rad="112500"/>
          </a:effectLst>
        </p:spPr>
      </p:pic>
      <p:pic>
        <p:nvPicPr>
          <p:cNvPr id="12" name="Picture 11">
            <a:extLst>
              <a:ext uri="{FF2B5EF4-FFF2-40B4-BE49-F238E27FC236}">
                <a16:creationId xmlns:a16="http://schemas.microsoft.com/office/drawing/2014/main" id="{DE804538-8E60-440E-BD38-2BAEB162D4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38601" y="20768914"/>
            <a:ext cx="5351206" cy="5351206"/>
          </a:xfrm>
          <a:prstGeom prst="ellipse">
            <a:avLst/>
          </a:prstGeom>
          <a:ln>
            <a:noFill/>
          </a:ln>
          <a:effectLst>
            <a:softEdge rad="112500"/>
          </a:effectLst>
        </p:spPr>
      </p:pic>
      <p:pic>
        <p:nvPicPr>
          <p:cNvPr id="13" name="Picture 12">
            <a:extLst>
              <a:ext uri="{FF2B5EF4-FFF2-40B4-BE49-F238E27FC236}">
                <a16:creationId xmlns:a16="http://schemas.microsoft.com/office/drawing/2014/main" id="{17D63BD6-FF77-4F4D-9AFD-AAE95602C4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506946" y="-2926613"/>
            <a:ext cx="5351206" cy="5351206"/>
          </a:xfrm>
          <a:prstGeom prst="ellipse">
            <a:avLst/>
          </a:prstGeom>
          <a:ln>
            <a:noFill/>
          </a:ln>
          <a:effectLst>
            <a:softEdge rad="112500"/>
          </a:effectLst>
        </p:spPr>
      </p:pic>
    </p:spTree>
    <p:extLst>
      <p:ext uri="{BB962C8B-B14F-4D97-AF65-F5344CB8AC3E}">
        <p14:creationId xmlns:p14="http://schemas.microsoft.com/office/powerpoint/2010/main" val="244932142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C0861-FFC6-4EC8-80B2-7462DF0592E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7D3B8549-BD97-4498-B92A-EE722B363063}"/>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4" name="Footer Placeholder 3">
            <a:extLst>
              <a:ext uri="{FF2B5EF4-FFF2-40B4-BE49-F238E27FC236}">
                <a16:creationId xmlns:a16="http://schemas.microsoft.com/office/drawing/2014/main" id="{E08ECFB4-681A-4669-981F-4868CC5A19C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1F0950B-B411-4064-9EBE-AAA62709E12D}"/>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pic>
        <p:nvPicPr>
          <p:cNvPr id="6" name="Picture 5">
            <a:extLst>
              <a:ext uri="{FF2B5EF4-FFF2-40B4-BE49-F238E27FC236}">
                <a16:creationId xmlns:a16="http://schemas.microsoft.com/office/drawing/2014/main" id="{60BC86E8-BB96-4ECA-80E3-E8D4E38CB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503553" y="-1278286"/>
            <a:ext cx="5351206" cy="5351206"/>
          </a:xfrm>
          <a:prstGeom prst="ellipse">
            <a:avLst/>
          </a:prstGeom>
          <a:ln>
            <a:noFill/>
          </a:ln>
          <a:effectLst>
            <a:softEdge rad="112500"/>
          </a:effectLst>
        </p:spPr>
      </p:pic>
      <p:pic>
        <p:nvPicPr>
          <p:cNvPr id="7" name="Picture 6">
            <a:extLst>
              <a:ext uri="{FF2B5EF4-FFF2-40B4-BE49-F238E27FC236}">
                <a16:creationId xmlns:a16="http://schemas.microsoft.com/office/drawing/2014/main" id="{F86F3DC1-CB24-4651-A29A-A4536FC19A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8830" y="-26373486"/>
            <a:ext cx="5351206" cy="5351206"/>
          </a:xfrm>
          <a:prstGeom prst="ellipse">
            <a:avLst/>
          </a:prstGeom>
          <a:ln>
            <a:noFill/>
          </a:ln>
          <a:effectLst>
            <a:softEdge rad="112500"/>
          </a:effectLst>
        </p:spPr>
      </p:pic>
      <p:pic>
        <p:nvPicPr>
          <p:cNvPr id="8" name="Picture 7">
            <a:extLst>
              <a:ext uri="{FF2B5EF4-FFF2-40B4-BE49-F238E27FC236}">
                <a16:creationId xmlns:a16="http://schemas.microsoft.com/office/drawing/2014/main" id="{F2FC07ED-1BDD-4E4A-ADEB-1F50D1C660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38601" y="20768914"/>
            <a:ext cx="5351206" cy="5351206"/>
          </a:xfrm>
          <a:prstGeom prst="ellipse">
            <a:avLst/>
          </a:prstGeom>
          <a:ln>
            <a:noFill/>
          </a:ln>
          <a:effectLst>
            <a:softEdge rad="112500"/>
          </a:effectLst>
        </p:spPr>
      </p:pic>
      <p:pic>
        <p:nvPicPr>
          <p:cNvPr id="9" name="Picture 8">
            <a:extLst>
              <a:ext uri="{FF2B5EF4-FFF2-40B4-BE49-F238E27FC236}">
                <a16:creationId xmlns:a16="http://schemas.microsoft.com/office/drawing/2014/main" id="{3A08E411-548B-4B65-B332-8152446A85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506946" y="-2926613"/>
            <a:ext cx="5351206" cy="5351206"/>
          </a:xfrm>
          <a:prstGeom prst="ellipse">
            <a:avLst/>
          </a:prstGeom>
          <a:ln>
            <a:noFill/>
          </a:ln>
          <a:effectLst>
            <a:softEdge rad="112500"/>
          </a:effectLst>
        </p:spPr>
      </p:pic>
    </p:spTree>
    <p:extLst>
      <p:ext uri="{BB962C8B-B14F-4D97-AF65-F5344CB8AC3E}">
        <p14:creationId xmlns:p14="http://schemas.microsoft.com/office/powerpoint/2010/main" val="316152594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7C0D3C-18F0-421A-8C29-8C31D734B17A}"/>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3" name="Footer Placeholder 2">
            <a:extLst>
              <a:ext uri="{FF2B5EF4-FFF2-40B4-BE49-F238E27FC236}">
                <a16:creationId xmlns:a16="http://schemas.microsoft.com/office/drawing/2014/main" id="{8A532CC7-5D57-453B-AE7E-692F3A71EE2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E182709C-2740-4289-87B1-1454DC1DAF17}"/>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pic>
        <p:nvPicPr>
          <p:cNvPr id="5" name="图片 2">
            <a:extLst>
              <a:ext uri="{FF2B5EF4-FFF2-40B4-BE49-F238E27FC236}">
                <a16:creationId xmlns:a16="http://schemas.microsoft.com/office/drawing/2014/main" id="{A44C01D9-2320-FE86-3E05-4515BC54A8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矩形: 圆角 11">
            <a:extLst>
              <a:ext uri="{FF2B5EF4-FFF2-40B4-BE49-F238E27FC236}">
                <a16:creationId xmlns:a16="http://schemas.microsoft.com/office/drawing/2014/main" id="{B9D40DFB-D7AD-B8FB-6483-A1BE0E6FC10C}"/>
              </a:ext>
            </a:extLst>
          </p:cNvPr>
          <p:cNvSpPr/>
          <p:nvPr userDrawn="1"/>
        </p:nvSpPr>
        <p:spPr>
          <a:xfrm>
            <a:off x="378372" y="262759"/>
            <a:ext cx="11461655" cy="6295696"/>
          </a:xfrm>
          <a:prstGeom prst="roundRect">
            <a:avLst>
              <a:gd name="adj" fmla="val 11141"/>
            </a:avLst>
          </a:prstGeom>
          <a:solidFill>
            <a:schemeClr val="bg1"/>
          </a:solidFill>
          <a:ln w="38100">
            <a:solidFill>
              <a:srgbClr val="FED301"/>
            </a:solid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86825109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343DB-26F7-47DE-931C-EEFDE1BBB03D}"/>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16CFF36-FC48-4D90-B5AA-50AA258EB5B3}"/>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1360CD6-5C80-4B37-8017-FAA492382B2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A68723-3034-4032-A3CB-78B64113FE0C}"/>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6" name="Footer Placeholder 5">
            <a:extLst>
              <a:ext uri="{FF2B5EF4-FFF2-40B4-BE49-F238E27FC236}">
                <a16:creationId xmlns:a16="http://schemas.microsoft.com/office/drawing/2014/main" id="{FCE43A6F-4C3D-4ACB-85B2-D844E6DDAA4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65726CB-5BEE-432C-8E4A-C771B16C91C8}"/>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pic>
        <p:nvPicPr>
          <p:cNvPr id="8" name="Picture 7">
            <a:extLst>
              <a:ext uri="{FF2B5EF4-FFF2-40B4-BE49-F238E27FC236}">
                <a16:creationId xmlns:a16="http://schemas.microsoft.com/office/drawing/2014/main" id="{9E6F2A92-E3AA-44AF-A3B0-83741084B4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503553" y="-1278286"/>
            <a:ext cx="5351206" cy="5351206"/>
          </a:xfrm>
          <a:prstGeom prst="ellipse">
            <a:avLst/>
          </a:prstGeom>
          <a:ln>
            <a:noFill/>
          </a:ln>
          <a:effectLst>
            <a:softEdge rad="112500"/>
          </a:effectLst>
        </p:spPr>
      </p:pic>
      <p:pic>
        <p:nvPicPr>
          <p:cNvPr id="9" name="Picture 8">
            <a:extLst>
              <a:ext uri="{FF2B5EF4-FFF2-40B4-BE49-F238E27FC236}">
                <a16:creationId xmlns:a16="http://schemas.microsoft.com/office/drawing/2014/main" id="{B52293BD-04EA-4606-A65A-030C284013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8830" y="-26373486"/>
            <a:ext cx="5351206" cy="5351206"/>
          </a:xfrm>
          <a:prstGeom prst="ellipse">
            <a:avLst/>
          </a:prstGeom>
          <a:ln>
            <a:noFill/>
          </a:ln>
          <a:effectLst>
            <a:softEdge rad="112500"/>
          </a:effectLst>
        </p:spPr>
      </p:pic>
      <p:pic>
        <p:nvPicPr>
          <p:cNvPr id="10" name="Picture 9">
            <a:extLst>
              <a:ext uri="{FF2B5EF4-FFF2-40B4-BE49-F238E27FC236}">
                <a16:creationId xmlns:a16="http://schemas.microsoft.com/office/drawing/2014/main" id="{7F654B26-E987-48BC-B196-15B90FF2F0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38601" y="20768914"/>
            <a:ext cx="5351206" cy="5351206"/>
          </a:xfrm>
          <a:prstGeom prst="ellipse">
            <a:avLst/>
          </a:prstGeom>
          <a:ln>
            <a:noFill/>
          </a:ln>
          <a:effectLst>
            <a:softEdge rad="112500"/>
          </a:effectLst>
        </p:spPr>
      </p:pic>
      <p:pic>
        <p:nvPicPr>
          <p:cNvPr id="11" name="Picture 10">
            <a:extLst>
              <a:ext uri="{FF2B5EF4-FFF2-40B4-BE49-F238E27FC236}">
                <a16:creationId xmlns:a16="http://schemas.microsoft.com/office/drawing/2014/main" id="{E810BD6F-E8D1-416E-ADDE-A4BEE07520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506946" y="-2926613"/>
            <a:ext cx="5351206" cy="5351206"/>
          </a:xfrm>
          <a:prstGeom prst="ellipse">
            <a:avLst/>
          </a:prstGeom>
          <a:ln>
            <a:noFill/>
          </a:ln>
          <a:effectLst>
            <a:softEdge rad="112500"/>
          </a:effectLst>
        </p:spPr>
      </p:pic>
    </p:spTree>
    <p:extLst>
      <p:ext uri="{BB962C8B-B14F-4D97-AF65-F5344CB8AC3E}">
        <p14:creationId xmlns:p14="http://schemas.microsoft.com/office/powerpoint/2010/main" val="72141482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EC290-2475-4D54-9F28-378592F5DC7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2942E5-31CB-49B1-9CCA-2268718075D8}"/>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B0D296B-2B3F-491D-9231-2C939BDC1D8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DC58B0-2336-4CC8-AE39-2CB9228109C5}"/>
              </a:ext>
            </a:extLst>
          </p:cNvPr>
          <p:cNvSpPr>
            <a:spLocks noGrp="1"/>
          </p:cNvSpPr>
          <p:nvPr>
            <p:ph type="dt" sz="half" idx="10"/>
          </p:nvPr>
        </p:nvSpPr>
        <p:spPr>
          <a:xfrm>
            <a:off x="838200" y="6356350"/>
            <a:ext cx="2743200" cy="365125"/>
          </a:xfrm>
          <a:prstGeom prst="rect">
            <a:avLst/>
          </a:prstGeom>
        </p:spPr>
        <p:txBody>
          <a:bodyPr/>
          <a:lstStyle/>
          <a:p>
            <a:fld id="{8EE46736-3AB9-4581-9537-BFDC64F07584}" type="datetimeFigureOut">
              <a:rPr lang="en-US" smtClean="0"/>
              <a:t>12/27/2025</a:t>
            </a:fld>
            <a:endParaRPr lang="en-US"/>
          </a:p>
        </p:txBody>
      </p:sp>
      <p:sp>
        <p:nvSpPr>
          <p:cNvPr id="6" name="Footer Placeholder 5">
            <a:extLst>
              <a:ext uri="{FF2B5EF4-FFF2-40B4-BE49-F238E27FC236}">
                <a16:creationId xmlns:a16="http://schemas.microsoft.com/office/drawing/2014/main" id="{A1F71FB3-6F06-4B58-A460-E9B1A9435EC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3696E3F-B482-4459-A4A1-7993153A7CB9}"/>
              </a:ext>
            </a:extLst>
          </p:cNvPr>
          <p:cNvSpPr>
            <a:spLocks noGrp="1"/>
          </p:cNvSpPr>
          <p:nvPr>
            <p:ph type="sldNum" sz="quarter" idx="12"/>
          </p:nvPr>
        </p:nvSpPr>
        <p:spPr>
          <a:xfrm>
            <a:off x="8610600" y="6356350"/>
            <a:ext cx="2743200" cy="365125"/>
          </a:xfrm>
          <a:prstGeom prst="rect">
            <a:avLst/>
          </a:prstGeom>
        </p:spPr>
        <p:txBody>
          <a:bodyPr/>
          <a:lstStyle/>
          <a:p>
            <a:fld id="{8EEF4E55-171D-44B6-8D2C-72306260B6FD}" type="slidenum">
              <a:rPr lang="en-US" smtClean="0"/>
              <a:t>‹#›</a:t>
            </a:fld>
            <a:endParaRPr lang="en-US"/>
          </a:p>
        </p:txBody>
      </p:sp>
    </p:spTree>
    <p:extLst>
      <p:ext uri="{BB962C8B-B14F-4D97-AF65-F5344CB8AC3E}">
        <p14:creationId xmlns:p14="http://schemas.microsoft.com/office/powerpoint/2010/main" val="85494475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5.xml"/><Relationship Id="rId7" Type="http://schemas.openxmlformats.org/officeDocument/2006/relationships/tags" Target="../tags/tag1.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image" Target="../media/image3.png"/><Relationship Id="rId4" Type="http://schemas.openxmlformats.org/officeDocument/2006/relationships/slideLayout" Target="../slideLayouts/slideLayout26.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8427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30537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spd="med" advClick="0">
    <p:pull/>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D0CE00B-B040-4546-AF5D-EEF96AA126B0}"/>
              </a:ext>
            </a:extLst>
          </p:cNvPr>
          <p:cNvGrpSpPr>
            <a:grpSpLocks noGrp="1" noSelect="1" noRot="1" noMove="1" noResize="1"/>
          </p:cNvGrpSpPr>
          <p:nvPr userDrawn="1">
            <p:custDataLst>
              <p:tags r:id="rId7"/>
            </p:custDataLst>
          </p:nvPr>
        </p:nvGrpSpPr>
        <p:grpSpPr>
          <a:xfrm>
            <a:off x="-2202100" y="-2224223"/>
            <a:ext cx="16596200" cy="11284323"/>
            <a:chOff x="-2202100" y="-2224223"/>
            <a:chExt cx="16596200" cy="11284323"/>
          </a:xfrm>
        </p:grpSpPr>
        <p:sp>
          <p:nvSpPr>
            <p:cNvPr id="12" name="Rectangle 11">
              <a:extLst>
                <a:ext uri="{FF2B5EF4-FFF2-40B4-BE49-F238E27FC236}">
                  <a16:creationId xmlns:a16="http://schemas.microsoft.com/office/drawing/2014/main" id="{AA423BDB-6737-4700-9989-01683A4147DA}"/>
                </a:ext>
              </a:extLst>
            </p:cNvPr>
            <p:cNvSpPr/>
            <p:nvPr/>
          </p:nvSpPr>
          <p:spPr>
            <a:xfrm>
              <a:off x="4851540" y="8494776"/>
              <a:ext cx="2488920" cy="565324"/>
            </a:xfrm>
            <a:prstGeom prst="rect">
              <a:avLst/>
            </a:prstGeom>
            <a:noFill/>
            <a:ln w="2159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391E50D3-44ED-477F-84FB-1E24BC65ED8F}"/>
                </a:ext>
              </a:extLst>
            </p:cNvPr>
            <p:cNvSpPr txBox="1"/>
            <p:nvPr/>
          </p:nvSpPr>
          <p:spPr>
            <a:xfrm>
              <a:off x="5006988" y="8647176"/>
              <a:ext cx="2178025" cy="260524"/>
            </a:xfrm>
            <a:custGeom>
              <a:avLst/>
              <a:gdLst/>
              <a:ahLst/>
              <a:cxnLst/>
              <a:rect l="l" t="t" r="r" b="b"/>
              <a:pathLst>
                <a:path w="2178025" h="260524">
                  <a:moveTo>
                    <a:pt x="1807648" y="222182"/>
                  </a:moveTo>
                  <a:cubicBezTo>
                    <a:pt x="1814010" y="222182"/>
                    <a:pt x="1818838" y="223968"/>
                    <a:pt x="1822130" y="227540"/>
                  </a:cubicBezTo>
                  <a:cubicBezTo>
                    <a:pt x="1825423" y="231111"/>
                    <a:pt x="1827070" y="235576"/>
                    <a:pt x="1827070" y="240934"/>
                  </a:cubicBezTo>
                  <a:cubicBezTo>
                    <a:pt x="1827070" y="246069"/>
                    <a:pt x="1825423" y="250366"/>
                    <a:pt x="1822130" y="253826"/>
                  </a:cubicBezTo>
                  <a:cubicBezTo>
                    <a:pt x="1818838" y="257287"/>
                    <a:pt x="1814010" y="259017"/>
                    <a:pt x="1807648" y="259017"/>
                  </a:cubicBezTo>
                  <a:cubicBezTo>
                    <a:pt x="1801285" y="259017"/>
                    <a:pt x="1796513" y="257287"/>
                    <a:pt x="1793332" y="253826"/>
                  </a:cubicBezTo>
                  <a:cubicBezTo>
                    <a:pt x="1790151" y="250366"/>
                    <a:pt x="1788560" y="246069"/>
                    <a:pt x="1788560" y="240934"/>
                  </a:cubicBezTo>
                  <a:cubicBezTo>
                    <a:pt x="1788560" y="235576"/>
                    <a:pt x="1790151" y="231111"/>
                    <a:pt x="1793332" y="227540"/>
                  </a:cubicBezTo>
                  <a:cubicBezTo>
                    <a:pt x="1796513" y="223968"/>
                    <a:pt x="1801285" y="222182"/>
                    <a:pt x="1807648" y="222182"/>
                  </a:cubicBezTo>
                  <a:close/>
                  <a:moveTo>
                    <a:pt x="807523" y="222182"/>
                  </a:moveTo>
                  <a:cubicBezTo>
                    <a:pt x="813885" y="222182"/>
                    <a:pt x="818713" y="223968"/>
                    <a:pt x="822005" y="227540"/>
                  </a:cubicBezTo>
                  <a:cubicBezTo>
                    <a:pt x="825298" y="231111"/>
                    <a:pt x="826945" y="235576"/>
                    <a:pt x="826945" y="240934"/>
                  </a:cubicBezTo>
                  <a:cubicBezTo>
                    <a:pt x="826945" y="246069"/>
                    <a:pt x="825298" y="250366"/>
                    <a:pt x="822005" y="253826"/>
                  </a:cubicBezTo>
                  <a:cubicBezTo>
                    <a:pt x="818713" y="257287"/>
                    <a:pt x="813885" y="259017"/>
                    <a:pt x="807523" y="259017"/>
                  </a:cubicBezTo>
                  <a:cubicBezTo>
                    <a:pt x="801160" y="259017"/>
                    <a:pt x="796388" y="257287"/>
                    <a:pt x="793207" y="253826"/>
                  </a:cubicBezTo>
                  <a:cubicBezTo>
                    <a:pt x="790026" y="250366"/>
                    <a:pt x="788435" y="246069"/>
                    <a:pt x="788435" y="240934"/>
                  </a:cubicBezTo>
                  <a:cubicBezTo>
                    <a:pt x="788435" y="235576"/>
                    <a:pt x="790026" y="231111"/>
                    <a:pt x="793207" y="227540"/>
                  </a:cubicBezTo>
                  <a:cubicBezTo>
                    <a:pt x="796388" y="223968"/>
                    <a:pt x="801160" y="222182"/>
                    <a:pt x="807523" y="222182"/>
                  </a:cubicBezTo>
                  <a:close/>
                  <a:moveTo>
                    <a:pt x="1488076" y="98952"/>
                  </a:moveTo>
                  <a:cubicBezTo>
                    <a:pt x="1472896" y="98952"/>
                    <a:pt x="1461064" y="104812"/>
                    <a:pt x="1452581" y="116532"/>
                  </a:cubicBezTo>
                  <a:cubicBezTo>
                    <a:pt x="1444098" y="128253"/>
                    <a:pt x="1439856" y="145610"/>
                    <a:pt x="1439856" y="168604"/>
                  </a:cubicBezTo>
                  <a:cubicBezTo>
                    <a:pt x="1439856" y="189142"/>
                    <a:pt x="1444098" y="205215"/>
                    <a:pt x="1452581" y="216824"/>
                  </a:cubicBezTo>
                  <a:cubicBezTo>
                    <a:pt x="1461064" y="228433"/>
                    <a:pt x="1472784" y="234237"/>
                    <a:pt x="1487741" y="234237"/>
                  </a:cubicBezTo>
                  <a:cubicBezTo>
                    <a:pt x="1507387" y="234237"/>
                    <a:pt x="1521730" y="225419"/>
                    <a:pt x="1530771" y="207783"/>
                  </a:cubicBezTo>
                  <a:lnTo>
                    <a:pt x="1530771" y="124569"/>
                  </a:lnTo>
                  <a:cubicBezTo>
                    <a:pt x="1521507" y="107491"/>
                    <a:pt x="1507275" y="98952"/>
                    <a:pt x="1488076" y="98952"/>
                  </a:cubicBezTo>
                  <a:close/>
                  <a:moveTo>
                    <a:pt x="1678241" y="98115"/>
                  </a:moveTo>
                  <a:cubicBezTo>
                    <a:pt x="1665740" y="98115"/>
                    <a:pt x="1655248" y="102663"/>
                    <a:pt x="1646764" y="111761"/>
                  </a:cubicBezTo>
                  <a:cubicBezTo>
                    <a:pt x="1638281" y="120858"/>
                    <a:pt x="1633035" y="133610"/>
                    <a:pt x="1631026" y="150019"/>
                  </a:cubicBezTo>
                  <a:lnTo>
                    <a:pt x="1721774" y="150019"/>
                  </a:lnTo>
                  <a:lnTo>
                    <a:pt x="1721774" y="147675"/>
                  </a:lnTo>
                  <a:cubicBezTo>
                    <a:pt x="1720881" y="131936"/>
                    <a:pt x="1716639" y="119742"/>
                    <a:pt x="1709049" y="111091"/>
                  </a:cubicBezTo>
                  <a:cubicBezTo>
                    <a:pt x="1701459" y="102440"/>
                    <a:pt x="1691190" y="98115"/>
                    <a:pt x="1678241" y="98115"/>
                  </a:cubicBezTo>
                  <a:close/>
                  <a:moveTo>
                    <a:pt x="1855700" y="76014"/>
                  </a:moveTo>
                  <a:lnTo>
                    <a:pt x="1887345" y="76014"/>
                  </a:lnTo>
                  <a:lnTo>
                    <a:pt x="1933389" y="215150"/>
                  </a:lnTo>
                  <a:lnTo>
                    <a:pt x="1978260" y="76014"/>
                  </a:lnTo>
                  <a:lnTo>
                    <a:pt x="2009905" y="76014"/>
                  </a:lnTo>
                  <a:lnTo>
                    <a:pt x="1944941" y="257175"/>
                  </a:lnTo>
                  <a:lnTo>
                    <a:pt x="1921334" y="257175"/>
                  </a:lnTo>
                  <a:close/>
                  <a:moveTo>
                    <a:pt x="1333370" y="76014"/>
                  </a:moveTo>
                  <a:lnTo>
                    <a:pt x="1364344" y="76014"/>
                  </a:lnTo>
                  <a:lnTo>
                    <a:pt x="1364344" y="257175"/>
                  </a:lnTo>
                  <a:lnTo>
                    <a:pt x="1333370" y="257175"/>
                  </a:lnTo>
                  <a:close/>
                  <a:moveTo>
                    <a:pt x="514350" y="76014"/>
                  </a:moveTo>
                  <a:lnTo>
                    <a:pt x="545157" y="76014"/>
                  </a:lnTo>
                  <a:lnTo>
                    <a:pt x="580820" y="211634"/>
                  </a:lnTo>
                  <a:lnTo>
                    <a:pt x="623013" y="76014"/>
                  </a:lnTo>
                  <a:lnTo>
                    <a:pt x="647960" y="76014"/>
                  </a:lnTo>
                  <a:lnTo>
                    <a:pt x="690990" y="214480"/>
                  </a:lnTo>
                  <a:lnTo>
                    <a:pt x="725816" y="76014"/>
                  </a:lnTo>
                  <a:lnTo>
                    <a:pt x="756791" y="76014"/>
                  </a:lnTo>
                  <a:lnTo>
                    <a:pt x="704050" y="257175"/>
                  </a:lnTo>
                  <a:lnTo>
                    <a:pt x="678935" y="257175"/>
                  </a:lnTo>
                  <a:lnTo>
                    <a:pt x="634901" y="119881"/>
                  </a:lnTo>
                  <a:lnTo>
                    <a:pt x="592038" y="257175"/>
                  </a:lnTo>
                  <a:lnTo>
                    <a:pt x="566923" y="257175"/>
                  </a:lnTo>
                  <a:close/>
                  <a:moveTo>
                    <a:pt x="257175" y="76014"/>
                  </a:moveTo>
                  <a:lnTo>
                    <a:pt x="287982" y="76014"/>
                  </a:lnTo>
                  <a:lnTo>
                    <a:pt x="323645" y="211634"/>
                  </a:lnTo>
                  <a:lnTo>
                    <a:pt x="365838" y="76014"/>
                  </a:lnTo>
                  <a:lnTo>
                    <a:pt x="390785" y="76014"/>
                  </a:lnTo>
                  <a:lnTo>
                    <a:pt x="433815" y="214480"/>
                  </a:lnTo>
                  <a:lnTo>
                    <a:pt x="468641" y="76014"/>
                  </a:lnTo>
                  <a:lnTo>
                    <a:pt x="499616" y="76014"/>
                  </a:lnTo>
                  <a:lnTo>
                    <a:pt x="446875" y="257175"/>
                  </a:lnTo>
                  <a:lnTo>
                    <a:pt x="421760" y="257175"/>
                  </a:lnTo>
                  <a:lnTo>
                    <a:pt x="377726" y="119881"/>
                  </a:lnTo>
                  <a:lnTo>
                    <a:pt x="334863" y="257175"/>
                  </a:lnTo>
                  <a:lnTo>
                    <a:pt x="309748" y="257175"/>
                  </a:lnTo>
                  <a:close/>
                  <a:moveTo>
                    <a:pt x="0" y="76014"/>
                  </a:moveTo>
                  <a:lnTo>
                    <a:pt x="30807" y="76014"/>
                  </a:lnTo>
                  <a:lnTo>
                    <a:pt x="66470" y="211634"/>
                  </a:lnTo>
                  <a:lnTo>
                    <a:pt x="108663" y="76014"/>
                  </a:lnTo>
                  <a:lnTo>
                    <a:pt x="133610" y="76014"/>
                  </a:lnTo>
                  <a:lnTo>
                    <a:pt x="176640" y="214480"/>
                  </a:lnTo>
                  <a:lnTo>
                    <a:pt x="211466" y="76014"/>
                  </a:lnTo>
                  <a:lnTo>
                    <a:pt x="242441" y="76014"/>
                  </a:lnTo>
                  <a:lnTo>
                    <a:pt x="189700" y="257175"/>
                  </a:lnTo>
                  <a:lnTo>
                    <a:pt x="164585" y="257175"/>
                  </a:lnTo>
                  <a:lnTo>
                    <a:pt x="120551" y="119881"/>
                  </a:lnTo>
                  <a:lnTo>
                    <a:pt x="77688" y="257175"/>
                  </a:lnTo>
                  <a:lnTo>
                    <a:pt x="52573" y="257175"/>
                  </a:lnTo>
                  <a:close/>
                  <a:moveTo>
                    <a:pt x="2120094" y="72666"/>
                  </a:moveTo>
                  <a:cubicBezTo>
                    <a:pt x="2158380" y="72666"/>
                    <a:pt x="2177690" y="94264"/>
                    <a:pt x="2178025" y="137461"/>
                  </a:cubicBezTo>
                  <a:lnTo>
                    <a:pt x="2178025" y="257175"/>
                  </a:lnTo>
                  <a:lnTo>
                    <a:pt x="2147050" y="257175"/>
                  </a:lnTo>
                  <a:lnTo>
                    <a:pt x="2147050" y="137294"/>
                  </a:lnTo>
                  <a:cubicBezTo>
                    <a:pt x="2146938" y="124234"/>
                    <a:pt x="2143953" y="114579"/>
                    <a:pt x="2138092" y="108328"/>
                  </a:cubicBezTo>
                  <a:cubicBezTo>
                    <a:pt x="2132232" y="102077"/>
                    <a:pt x="2123107" y="98952"/>
                    <a:pt x="2110717" y="98952"/>
                  </a:cubicBezTo>
                  <a:cubicBezTo>
                    <a:pt x="2100671" y="98952"/>
                    <a:pt x="2091853" y="101631"/>
                    <a:pt x="2084263" y="106989"/>
                  </a:cubicBezTo>
                  <a:cubicBezTo>
                    <a:pt x="2076673" y="112347"/>
                    <a:pt x="2070757" y="119379"/>
                    <a:pt x="2066515" y="128085"/>
                  </a:cubicBezTo>
                  <a:lnTo>
                    <a:pt x="2066515" y="257175"/>
                  </a:lnTo>
                  <a:lnTo>
                    <a:pt x="2035541" y="257175"/>
                  </a:lnTo>
                  <a:lnTo>
                    <a:pt x="2035541" y="76014"/>
                  </a:lnTo>
                  <a:lnTo>
                    <a:pt x="2064841" y="76014"/>
                  </a:lnTo>
                  <a:lnTo>
                    <a:pt x="2065846" y="98785"/>
                  </a:lnTo>
                  <a:cubicBezTo>
                    <a:pt x="2079687" y="81372"/>
                    <a:pt x="2097769" y="72666"/>
                    <a:pt x="2120094" y="72666"/>
                  </a:cubicBezTo>
                  <a:close/>
                  <a:moveTo>
                    <a:pt x="1678241" y="72666"/>
                  </a:moveTo>
                  <a:cubicBezTo>
                    <a:pt x="1701794" y="72666"/>
                    <a:pt x="1720099" y="80423"/>
                    <a:pt x="1733159" y="95938"/>
                  </a:cubicBezTo>
                  <a:cubicBezTo>
                    <a:pt x="1746219" y="111454"/>
                    <a:pt x="1752749" y="133666"/>
                    <a:pt x="1752749" y="162576"/>
                  </a:cubicBezTo>
                  <a:lnTo>
                    <a:pt x="1752749" y="175468"/>
                  </a:lnTo>
                  <a:lnTo>
                    <a:pt x="1630021" y="175468"/>
                  </a:lnTo>
                  <a:cubicBezTo>
                    <a:pt x="1630468" y="193328"/>
                    <a:pt x="1635686" y="207755"/>
                    <a:pt x="1645676" y="218749"/>
                  </a:cubicBezTo>
                  <a:cubicBezTo>
                    <a:pt x="1655666" y="229744"/>
                    <a:pt x="1668363" y="235241"/>
                    <a:pt x="1683767" y="235241"/>
                  </a:cubicBezTo>
                  <a:cubicBezTo>
                    <a:pt x="1694706" y="235241"/>
                    <a:pt x="1703970" y="233009"/>
                    <a:pt x="1711560" y="228544"/>
                  </a:cubicBezTo>
                  <a:cubicBezTo>
                    <a:pt x="1719151" y="224079"/>
                    <a:pt x="1725792" y="218163"/>
                    <a:pt x="1731485" y="210796"/>
                  </a:cubicBezTo>
                  <a:lnTo>
                    <a:pt x="1750405" y="225530"/>
                  </a:lnTo>
                  <a:cubicBezTo>
                    <a:pt x="1735224" y="248859"/>
                    <a:pt x="1712453" y="260524"/>
                    <a:pt x="1682092" y="260524"/>
                  </a:cubicBezTo>
                  <a:cubicBezTo>
                    <a:pt x="1657536" y="260524"/>
                    <a:pt x="1637556" y="252459"/>
                    <a:pt x="1622152" y="236330"/>
                  </a:cubicBezTo>
                  <a:cubicBezTo>
                    <a:pt x="1606748" y="220201"/>
                    <a:pt x="1599046" y="198630"/>
                    <a:pt x="1599046" y="171617"/>
                  </a:cubicBezTo>
                  <a:lnTo>
                    <a:pt x="1599046" y="165925"/>
                  </a:lnTo>
                  <a:cubicBezTo>
                    <a:pt x="1599046" y="147954"/>
                    <a:pt x="1602479" y="131908"/>
                    <a:pt x="1609343" y="117788"/>
                  </a:cubicBezTo>
                  <a:cubicBezTo>
                    <a:pt x="1616208" y="103668"/>
                    <a:pt x="1625807" y="92618"/>
                    <a:pt x="1638142" y="84637"/>
                  </a:cubicBezTo>
                  <a:cubicBezTo>
                    <a:pt x="1650476" y="76656"/>
                    <a:pt x="1663842" y="72666"/>
                    <a:pt x="1678241" y="72666"/>
                  </a:cubicBezTo>
                  <a:close/>
                  <a:moveTo>
                    <a:pt x="1129624" y="72666"/>
                  </a:moveTo>
                  <a:cubicBezTo>
                    <a:pt x="1150162" y="72666"/>
                    <a:pt x="1166822" y="77968"/>
                    <a:pt x="1179602" y="88572"/>
                  </a:cubicBezTo>
                  <a:cubicBezTo>
                    <a:pt x="1192383" y="99175"/>
                    <a:pt x="1198773" y="112737"/>
                    <a:pt x="1198773" y="129257"/>
                  </a:cubicBezTo>
                  <a:lnTo>
                    <a:pt x="1167631" y="129257"/>
                  </a:lnTo>
                  <a:cubicBezTo>
                    <a:pt x="1167631" y="120774"/>
                    <a:pt x="1164031" y="113463"/>
                    <a:pt x="1156831" y="107324"/>
                  </a:cubicBezTo>
                  <a:cubicBezTo>
                    <a:pt x="1149632" y="101185"/>
                    <a:pt x="1140563" y="98115"/>
                    <a:pt x="1129624" y="98115"/>
                  </a:cubicBezTo>
                  <a:cubicBezTo>
                    <a:pt x="1118350" y="98115"/>
                    <a:pt x="1109532" y="100571"/>
                    <a:pt x="1103170" y="105482"/>
                  </a:cubicBezTo>
                  <a:cubicBezTo>
                    <a:pt x="1096807" y="110393"/>
                    <a:pt x="1093626" y="116811"/>
                    <a:pt x="1093626" y="124737"/>
                  </a:cubicBezTo>
                  <a:cubicBezTo>
                    <a:pt x="1093626" y="132215"/>
                    <a:pt x="1096584" y="137852"/>
                    <a:pt x="1102500" y="141647"/>
                  </a:cubicBezTo>
                  <a:cubicBezTo>
                    <a:pt x="1108416" y="145442"/>
                    <a:pt x="1119104" y="149070"/>
                    <a:pt x="1134563" y="152530"/>
                  </a:cubicBezTo>
                  <a:cubicBezTo>
                    <a:pt x="1150023" y="155990"/>
                    <a:pt x="1162552" y="160120"/>
                    <a:pt x="1172151" y="164920"/>
                  </a:cubicBezTo>
                  <a:cubicBezTo>
                    <a:pt x="1181751" y="169720"/>
                    <a:pt x="1188867" y="175496"/>
                    <a:pt x="1193499" y="182249"/>
                  </a:cubicBezTo>
                  <a:cubicBezTo>
                    <a:pt x="1198131" y="189002"/>
                    <a:pt x="1200447" y="197234"/>
                    <a:pt x="1200447" y="206945"/>
                  </a:cubicBezTo>
                  <a:cubicBezTo>
                    <a:pt x="1200447" y="223131"/>
                    <a:pt x="1193973" y="236107"/>
                    <a:pt x="1181025" y="245873"/>
                  </a:cubicBezTo>
                  <a:cubicBezTo>
                    <a:pt x="1168077" y="255640"/>
                    <a:pt x="1151278" y="260524"/>
                    <a:pt x="1130628" y="260524"/>
                  </a:cubicBezTo>
                  <a:cubicBezTo>
                    <a:pt x="1116118" y="260524"/>
                    <a:pt x="1103281" y="257956"/>
                    <a:pt x="1092119" y="252822"/>
                  </a:cubicBezTo>
                  <a:cubicBezTo>
                    <a:pt x="1080957" y="247687"/>
                    <a:pt x="1072223" y="240516"/>
                    <a:pt x="1065916" y="231307"/>
                  </a:cubicBezTo>
                  <a:cubicBezTo>
                    <a:pt x="1059610" y="222098"/>
                    <a:pt x="1056456" y="212136"/>
                    <a:pt x="1056456" y="201420"/>
                  </a:cubicBezTo>
                  <a:lnTo>
                    <a:pt x="1087431" y="201420"/>
                  </a:lnTo>
                  <a:cubicBezTo>
                    <a:pt x="1087989" y="211801"/>
                    <a:pt x="1092147" y="220033"/>
                    <a:pt x="1099905" y="226116"/>
                  </a:cubicBezTo>
                  <a:cubicBezTo>
                    <a:pt x="1107662" y="232200"/>
                    <a:pt x="1117904" y="235241"/>
                    <a:pt x="1130628" y="235241"/>
                  </a:cubicBezTo>
                  <a:cubicBezTo>
                    <a:pt x="1142349" y="235241"/>
                    <a:pt x="1151753" y="232869"/>
                    <a:pt x="1158841" y="228126"/>
                  </a:cubicBezTo>
                  <a:cubicBezTo>
                    <a:pt x="1165929" y="223382"/>
                    <a:pt x="1169473" y="217047"/>
                    <a:pt x="1169473" y="209122"/>
                  </a:cubicBezTo>
                  <a:cubicBezTo>
                    <a:pt x="1169473" y="200751"/>
                    <a:pt x="1166319" y="194249"/>
                    <a:pt x="1160013" y="189616"/>
                  </a:cubicBezTo>
                  <a:cubicBezTo>
                    <a:pt x="1153706" y="184984"/>
                    <a:pt x="1142711" y="180994"/>
                    <a:pt x="1127029" y="177645"/>
                  </a:cubicBezTo>
                  <a:cubicBezTo>
                    <a:pt x="1111346" y="174296"/>
                    <a:pt x="1098900" y="170278"/>
                    <a:pt x="1089691" y="165590"/>
                  </a:cubicBezTo>
                  <a:cubicBezTo>
                    <a:pt x="1080483" y="160902"/>
                    <a:pt x="1073674" y="155321"/>
                    <a:pt x="1069265" y="148847"/>
                  </a:cubicBezTo>
                  <a:cubicBezTo>
                    <a:pt x="1064856" y="142373"/>
                    <a:pt x="1062651" y="134671"/>
                    <a:pt x="1062651" y="125741"/>
                  </a:cubicBezTo>
                  <a:cubicBezTo>
                    <a:pt x="1062651" y="110896"/>
                    <a:pt x="1068930" y="98338"/>
                    <a:pt x="1081487" y="88069"/>
                  </a:cubicBezTo>
                  <a:cubicBezTo>
                    <a:pt x="1094045" y="77800"/>
                    <a:pt x="1110090" y="72666"/>
                    <a:pt x="1129624" y="72666"/>
                  </a:cubicBezTo>
                  <a:close/>
                  <a:moveTo>
                    <a:pt x="942472" y="35831"/>
                  </a:moveTo>
                  <a:cubicBezTo>
                    <a:pt x="928855" y="35831"/>
                    <a:pt x="917916" y="41049"/>
                    <a:pt x="909656" y="51485"/>
                  </a:cubicBezTo>
                  <a:cubicBezTo>
                    <a:pt x="901396" y="61922"/>
                    <a:pt x="897266" y="75679"/>
                    <a:pt x="897266" y="92757"/>
                  </a:cubicBezTo>
                  <a:cubicBezTo>
                    <a:pt x="897266" y="109389"/>
                    <a:pt x="901256" y="123090"/>
                    <a:pt x="909237" y="133862"/>
                  </a:cubicBezTo>
                  <a:cubicBezTo>
                    <a:pt x="917218" y="144633"/>
                    <a:pt x="927906" y="150019"/>
                    <a:pt x="941300" y="150019"/>
                  </a:cubicBezTo>
                  <a:cubicBezTo>
                    <a:pt x="951681" y="150019"/>
                    <a:pt x="961253" y="146838"/>
                    <a:pt x="970015" y="140475"/>
                  </a:cubicBezTo>
                  <a:cubicBezTo>
                    <a:pt x="978777" y="134113"/>
                    <a:pt x="985168" y="126243"/>
                    <a:pt x="989186" y="116867"/>
                  </a:cubicBezTo>
                  <a:lnTo>
                    <a:pt x="989186" y="104477"/>
                  </a:lnTo>
                  <a:cubicBezTo>
                    <a:pt x="989186" y="84163"/>
                    <a:pt x="984777" y="67643"/>
                    <a:pt x="975959" y="54918"/>
                  </a:cubicBezTo>
                  <a:cubicBezTo>
                    <a:pt x="967141" y="42193"/>
                    <a:pt x="955979" y="35831"/>
                    <a:pt x="942472" y="35831"/>
                  </a:cubicBezTo>
                  <a:close/>
                  <a:moveTo>
                    <a:pt x="1349108" y="10046"/>
                  </a:moveTo>
                  <a:cubicBezTo>
                    <a:pt x="1355136" y="10046"/>
                    <a:pt x="1359712" y="11776"/>
                    <a:pt x="1362837" y="15237"/>
                  </a:cubicBezTo>
                  <a:cubicBezTo>
                    <a:pt x="1365963" y="18697"/>
                    <a:pt x="1367526" y="22938"/>
                    <a:pt x="1367526" y="27961"/>
                  </a:cubicBezTo>
                  <a:cubicBezTo>
                    <a:pt x="1367526" y="32984"/>
                    <a:pt x="1365963" y="37170"/>
                    <a:pt x="1362837" y="40519"/>
                  </a:cubicBezTo>
                  <a:cubicBezTo>
                    <a:pt x="1359712" y="43867"/>
                    <a:pt x="1355136" y="45542"/>
                    <a:pt x="1349108" y="45542"/>
                  </a:cubicBezTo>
                  <a:cubicBezTo>
                    <a:pt x="1343081" y="45542"/>
                    <a:pt x="1338532" y="43867"/>
                    <a:pt x="1335462" y="40519"/>
                  </a:cubicBezTo>
                  <a:cubicBezTo>
                    <a:pt x="1332393" y="37170"/>
                    <a:pt x="1330858" y="32984"/>
                    <a:pt x="1330858" y="27961"/>
                  </a:cubicBezTo>
                  <a:cubicBezTo>
                    <a:pt x="1330858" y="22938"/>
                    <a:pt x="1332393" y="18697"/>
                    <a:pt x="1335462" y="15237"/>
                  </a:cubicBezTo>
                  <a:cubicBezTo>
                    <a:pt x="1338532" y="11776"/>
                    <a:pt x="1343081" y="10046"/>
                    <a:pt x="1349108" y="10046"/>
                  </a:cubicBezTo>
                  <a:close/>
                  <a:moveTo>
                    <a:pt x="942305" y="10046"/>
                  </a:moveTo>
                  <a:cubicBezTo>
                    <a:pt x="966415" y="10046"/>
                    <a:pt x="985419" y="19060"/>
                    <a:pt x="999316" y="37086"/>
                  </a:cubicBezTo>
                  <a:cubicBezTo>
                    <a:pt x="1013212" y="55113"/>
                    <a:pt x="1020161" y="79698"/>
                    <a:pt x="1020161" y="110840"/>
                  </a:cubicBezTo>
                  <a:lnTo>
                    <a:pt x="1020161" y="119881"/>
                  </a:lnTo>
                  <a:cubicBezTo>
                    <a:pt x="1020161" y="167320"/>
                    <a:pt x="1010785" y="201950"/>
                    <a:pt x="992032" y="223772"/>
                  </a:cubicBezTo>
                  <a:cubicBezTo>
                    <a:pt x="973280" y="245594"/>
                    <a:pt x="944984" y="256784"/>
                    <a:pt x="907144" y="257342"/>
                  </a:cubicBezTo>
                  <a:lnTo>
                    <a:pt x="901117" y="257342"/>
                  </a:lnTo>
                  <a:lnTo>
                    <a:pt x="901117" y="231056"/>
                  </a:lnTo>
                  <a:lnTo>
                    <a:pt x="907647" y="231056"/>
                  </a:lnTo>
                  <a:cubicBezTo>
                    <a:pt x="933208" y="230611"/>
                    <a:pt x="952853" y="223956"/>
                    <a:pt x="966583" y="211089"/>
                  </a:cubicBezTo>
                  <a:cubicBezTo>
                    <a:pt x="980312" y="198223"/>
                    <a:pt x="987791" y="177866"/>
                    <a:pt x="989018" y="150019"/>
                  </a:cubicBezTo>
                  <a:cubicBezTo>
                    <a:pt x="982545" y="157721"/>
                    <a:pt x="974815" y="163916"/>
                    <a:pt x="965829" y="168604"/>
                  </a:cubicBezTo>
                  <a:cubicBezTo>
                    <a:pt x="956844" y="173292"/>
                    <a:pt x="946993" y="175636"/>
                    <a:pt x="936278" y="175636"/>
                  </a:cubicBezTo>
                  <a:cubicBezTo>
                    <a:pt x="922213" y="175636"/>
                    <a:pt x="909963" y="172176"/>
                    <a:pt x="899526" y="165255"/>
                  </a:cubicBezTo>
                  <a:cubicBezTo>
                    <a:pt x="889090" y="158335"/>
                    <a:pt x="881025" y="148596"/>
                    <a:pt x="875332" y="136038"/>
                  </a:cubicBezTo>
                  <a:cubicBezTo>
                    <a:pt x="869640" y="123481"/>
                    <a:pt x="866793" y="109612"/>
                    <a:pt x="866793" y="94431"/>
                  </a:cubicBezTo>
                  <a:cubicBezTo>
                    <a:pt x="866793" y="78135"/>
                    <a:pt x="869891" y="63457"/>
                    <a:pt x="876086" y="50397"/>
                  </a:cubicBezTo>
                  <a:cubicBezTo>
                    <a:pt x="882281" y="37338"/>
                    <a:pt x="891071" y="27347"/>
                    <a:pt x="902456" y="20427"/>
                  </a:cubicBezTo>
                  <a:cubicBezTo>
                    <a:pt x="913842" y="13506"/>
                    <a:pt x="927125" y="10046"/>
                    <a:pt x="942305" y="10046"/>
                  </a:cubicBezTo>
                  <a:close/>
                  <a:moveTo>
                    <a:pt x="1530771" y="0"/>
                  </a:moveTo>
                  <a:lnTo>
                    <a:pt x="1561746" y="0"/>
                  </a:lnTo>
                  <a:lnTo>
                    <a:pt x="1561746" y="257175"/>
                  </a:lnTo>
                  <a:lnTo>
                    <a:pt x="1533283" y="257175"/>
                  </a:lnTo>
                  <a:lnTo>
                    <a:pt x="1531776" y="237753"/>
                  </a:lnTo>
                  <a:cubicBezTo>
                    <a:pt x="1519386" y="252933"/>
                    <a:pt x="1502141" y="260524"/>
                    <a:pt x="1480040" y="260524"/>
                  </a:cubicBezTo>
                  <a:cubicBezTo>
                    <a:pt x="1459055" y="260524"/>
                    <a:pt x="1441949" y="251929"/>
                    <a:pt x="1428722" y="234739"/>
                  </a:cubicBezTo>
                  <a:cubicBezTo>
                    <a:pt x="1415495" y="217549"/>
                    <a:pt x="1408881" y="195114"/>
                    <a:pt x="1408881" y="167432"/>
                  </a:cubicBezTo>
                  <a:lnTo>
                    <a:pt x="1408881" y="165088"/>
                  </a:lnTo>
                  <a:cubicBezTo>
                    <a:pt x="1408881" y="137294"/>
                    <a:pt x="1415467" y="114942"/>
                    <a:pt x="1428638" y="98031"/>
                  </a:cubicBezTo>
                  <a:cubicBezTo>
                    <a:pt x="1441809" y="81121"/>
                    <a:pt x="1459055" y="72666"/>
                    <a:pt x="1480375" y="72666"/>
                  </a:cubicBezTo>
                  <a:cubicBezTo>
                    <a:pt x="1501583" y="72666"/>
                    <a:pt x="1518381" y="79921"/>
                    <a:pt x="1530771" y="94431"/>
                  </a:cubicBezTo>
                  <a:close/>
                  <a:moveTo>
                    <a:pt x="1247645" y="0"/>
                  </a:moveTo>
                  <a:lnTo>
                    <a:pt x="1278619" y="0"/>
                  </a:lnTo>
                  <a:lnTo>
                    <a:pt x="1278619" y="257175"/>
                  </a:lnTo>
                  <a:lnTo>
                    <a:pt x="1247645" y="257175"/>
                  </a:lnTo>
                  <a:close/>
                </a:path>
              </a:pathLst>
            </a:custGeom>
            <a:solidFill>
              <a:schemeClr val="bg1">
                <a:lumMod val="7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2700">
                <a:solidFill>
                  <a:schemeClr val="bg1">
                    <a:lumMod val="75000"/>
                  </a:schemeClr>
                </a:solidFill>
                <a:latin typeface="#9Slide02 Noi dung dai" panose="02000000000000000000" pitchFamily="2" charset="0"/>
                <a:ea typeface="#9Slide02 Noi dung dai" panose="02000000000000000000" pitchFamily="2" charset="0"/>
              </a:endParaRPr>
            </a:p>
          </p:txBody>
        </p:sp>
        <p:sp>
          <p:nvSpPr>
            <p:cNvPr id="14" name="Rectangle 13">
              <a:extLst>
                <a:ext uri="{FF2B5EF4-FFF2-40B4-BE49-F238E27FC236}">
                  <a16:creationId xmlns:a16="http://schemas.microsoft.com/office/drawing/2014/main" id="{52465F73-4B27-4C0F-9B02-510C8E083EB6}"/>
                </a:ext>
              </a:extLst>
            </p:cNvPr>
            <p:cNvSpPr/>
            <p:nvPr/>
          </p:nvSpPr>
          <p:spPr>
            <a:xfrm>
              <a:off x="-2202100" y="-2224223"/>
              <a:ext cx="16596200" cy="11284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9Slide.vn">
            <a:extLst>
              <a:ext uri="{FF2B5EF4-FFF2-40B4-BE49-F238E27FC236}">
                <a16:creationId xmlns:a16="http://schemas.microsoft.com/office/drawing/2014/main" id="{0F30810D-0BA7-48B5-9100-E09C5C296021}"/>
              </a:ext>
            </a:extLst>
          </p:cNvPr>
          <p:cNvSpPr>
            <a:spLocks noSelect="1"/>
          </p:cNvSpPr>
          <p:nvPr userDrawn="1">
            <p:custDataLst>
              <p:tags r:id="rId8"/>
            </p:custDataLst>
          </p:nvPr>
        </p:nvSpPr>
        <p:spPr>
          <a:xfrm>
            <a:off x="6091428" y="-8915400"/>
            <a:ext cx="9144" cy="914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9Slide.vn">
            <a:extLst>
              <a:ext uri="{FF2B5EF4-FFF2-40B4-BE49-F238E27FC236}">
                <a16:creationId xmlns:a16="http://schemas.microsoft.com/office/drawing/2014/main" id="{5703AF2A-1D5F-4BD2-8904-9B6C863CB9B3}"/>
              </a:ext>
            </a:extLst>
          </p:cNvPr>
          <p:cNvSpPr>
            <a:spLocks noSelect="1"/>
          </p:cNvSpPr>
          <p:nvPr userDrawn="1">
            <p:custDataLst>
              <p:tags r:id="rId9"/>
            </p:custDataLst>
          </p:nvPr>
        </p:nvSpPr>
        <p:spPr>
          <a:xfrm>
            <a:off x="6091428" y="15764256"/>
            <a:ext cx="9144" cy="914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round pink circle with white text and a black background&#10;&#10;AI-generated content may be incorrect.">
            <a:extLst>
              <a:ext uri="{FF2B5EF4-FFF2-40B4-BE49-F238E27FC236}">
                <a16:creationId xmlns:a16="http://schemas.microsoft.com/office/drawing/2014/main" id="{338A3BCA-770B-EB22-E146-CE1DECCAED80}"/>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815663" y="175688"/>
            <a:ext cx="1505967" cy="1505967"/>
          </a:xfrm>
          <a:prstGeom prst="rect">
            <a:avLst/>
          </a:prstGeom>
        </p:spPr>
      </p:pic>
    </p:spTree>
    <p:extLst>
      <p:ext uri="{BB962C8B-B14F-4D97-AF65-F5344CB8AC3E}">
        <p14:creationId xmlns:p14="http://schemas.microsoft.com/office/powerpoint/2010/main" val="209671552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3.xml"/><Relationship Id="rId1" Type="http://schemas.openxmlformats.org/officeDocument/2006/relationships/tags" Target="../tags/tag4.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Layout" Target="../slideLayouts/slideLayout1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4.pn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5.pn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6.pn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7.pn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Layout" Target="../slideLayouts/slideLayout18.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D8C3B8B-8455-BFC3-198F-BEDA465FA00B}"/>
              </a:ext>
            </a:extLst>
          </p:cNvPr>
          <p:cNvPicPr>
            <a:picLocks noChangeAspect="1"/>
          </p:cNvPicPr>
          <p:nvPr/>
        </p:nvPicPr>
        <p:blipFill rotWithShape="1">
          <a:blip r:embed="rId3">
            <a:extLst>
              <a:ext uri="{28A0092B-C50C-407E-A947-70E740481C1C}">
                <a14:useLocalDpi xmlns:a14="http://schemas.microsoft.com/office/drawing/2010/main" val="0"/>
              </a:ext>
            </a:extLst>
          </a:blip>
          <a:srcRect b="4249"/>
          <a:stretch/>
        </p:blipFill>
        <p:spPr>
          <a:xfrm>
            <a:off x="-152400" y="-9244"/>
            <a:ext cx="12344400" cy="6867244"/>
          </a:xfrm>
          <a:prstGeom prst="rect">
            <a:avLst/>
          </a:prstGeom>
        </p:spPr>
      </p:pic>
      <p:grpSp>
        <p:nvGrpSpPr>
          <p:cNvPr id="13" name="Group 12">
            <a:extLst>
              <a:ext uri="{FF2B5EF4-FFF2-40B4-BE49-F238E27FC236}">
                <a16:creationId xmlns:a16="http://schemas.microsoft.com/office/drawing/2014/main" id="{D7A4637A-4ADE-AE64-DABA-70D6A845C77C}"/>
              </a:ext>
            </a:extLst>
          </p:cNvPr>
          <p:cNvGrpSpPr/>
          <p:nvPr/>
        </p:nvGrpSpPr>
        <p:grpSpPr>
          <a:xfrm>
            <a:off x="2245128" y="1721946"/>
            <a:ext cx="6303900" cy="1417156"/>
            <a:chOff x="2245128" y="1721946"/>
            <a:chExt cx="6303900" cy="1417156"/>
          </a:xfrm>
        </p:grpSpPr>
        <p:sp>
          <p:nvSpPr>
            <p:cNvPr id="6" name="TextBox 5">
              <a:extLst>
                <a:ext uri="{FF2B5EF4-FFF2-40B4-BE49-F238E27FC236}">
                  <a16:creationId xmlns:a16="http://schemas.microsoft.com/office/drawing/2014/main" id="{F7D4011B-B8EA-47C8-0BC7-DB06BB830C4F}"/>
                </a:ext>
              </a:extLst>
            </p:cNvPr>
            <p:cNvSpPr txBox="1">
              <a:spLocks noChangeAspect="1"/>
            </p:cNvSpPr>
            <p:nvPr/>
          </p:nvSpPr>
          <p:spPr>
            <a:xfrm>
              <a:off x="2245128" y="1721946"/>
              <a:ext cx="6302312" cy="1417156"/>
            </a:xfrm>
            <a:custGeom>
              <a:avLst/>
              <a:gdLst/>
              <a:ahLst/>
              <a:cxnLst/>
              <a:rect l="l" t="t" r="r" b="b"/>
              <a:pathLst>
                <a:path w="6302312" h="1417156">
                  <a:moveTo>
                    <a:pt x="4280362" y="1229958"/>
                  </a:moveTo>
                  <a:cubicBezTo>
                    <a:pt x="4339273" y="1229958"/>
                    <a:pt x="4368728" y="1262126"/>
                    <a:pt x="4368728" y="1326463"/>
                  </a:cubicBezTo>
                  <a:cubicBezTo>
                    <a:pt x="4368728" y="1386925"/>
                    <a:pt x="4338885" y="1417156"/>
                    <a:pt x="4279199" y="1417156"/>
                  </a:cubicBezTo>
                  <a:cubicBezTo>
                    <a:pt x="4252844" y="1417156"/>
                    <a:pt x="4230753" y="1409404"/>
                    <a:pt x="4212924" y="1393901"/>
                  </a:cubicBezTo>
                  <a:cubicBezTo>
                    <a:pt x="4194320" y="1377623"/>
                    <a:pt x="4185019" y="1354756"/>
                    <a:pt x="4185019" y="1325301"/>
                  </a:cubicBezTo>
                  <a:cubicBezTo>
                    <a:pt x="4185019" y="1261739"/>
                    <a:pt x="4216800" y="1229958"/>
                    <a:pt x="4280362" y="1229958"/>
                  </a:cubicBezTo>
                  <a:close/>
                  <a:moveTo>
                    <a:pt x="686004" y="1164845"/>
                  </a:moveTo>
                  <a:cubicBezTo>
                    <a:pt x="686004" y="1166008"/>
                    <a:pt x="685956" y="1166153"/>
                    <a:pt x="685859" y="1165281"/>
                  </a:cubicBezTo>
                  <a:lnTo>
                    <a:pt x="685849" y="1165156"/>
                  </a:lnTo>
                  <a:close/>
                  <a:moveTo>
                    <a:pt x="3443724" y="554418"/>
                  </a:moveTo>
                  <a:lnTo>
                    <a:pt x="3403029" y="556743"/>
                  </a:lnTo>
                  <a:lnTo>
                    <a:pt x="3403029" y="638133"/>
                  </a:lnTo>
                  <a:lnTo>
                    <a:pt x="3499535" y="635808"/>
                  </a:lnTo>
                  <a:lnTo>
                    <a:pt x="3487908" y="831145"/>
                  </a:lnTo>
                  <a:cubicBezTo>
                    <a:pt x="3468529" y="830370"/>
                    <a:pt x="3452251" y="829788"/>
                    <a:pt x="3439073" y="829401"/>
                  </a:cubicBezTo>
                  <a:cubicBezTo>
                    <a:pt x="3425896" y="829013"/>
                    <a:pt x="3415432" y="828819"/>
                    <a:pt x="3407680" y="828819"/>
                  </a:cubicBezTo>
                  <a:lnTo>
                    <a:pt x="3410005" y="889281"/>
                  </a:lnTo>
                  <a:lnTo>
                    <a:pt x="3434423" y="889281"/>
                  </a:lnTo>
                  <a:cubicBezTo>
                    <a:pt x="3460778" y="889281"/>
                    <a:pt x="3479381" y="886955"/>
                    <a:pt x="3490233" y="882304"/>
                  </a:cubicBezTo>
                  <a:cubicBezTo>
                    <a:pt x="3500310" y="878429"/>
                    <a:pt x="3512713" y="866802"/>
                    <a:pt x="3527440" y="847423"/>
                  </a:cubicBezTo>
                  <a:cubicBezTo>
                    <a:pt x="3548369" y="818743"/>
                    <a:pt x="3558834" y="775334"/>
                    <a:pt x="3558834" y="717198"/>
                  </a:cubicBezTo>
                  <a:cubicBezTo>
                    <a:pt x="3558834" y="651311"/>
                    <a:pt x="3546819" y="605190"/>
                    <a:pt x="3522789" y="578835"/>
                  </a:cubicBezTo>
                  <a:cubicBezTo>
                    <a:pt x="3507286" y="562557"/>
                    <a:pt x="3480931" y="554418"/>
                    <a:pt x="3443724" y="554418"/>
                  </a:cubicBezTo>
                  <a:close/>
                  <a:moveTo>
                    <a:pt x="4287338" y="531163"/>
                  </a:moveTo>
                  <a:cubicBezTo>
                    <a:pt x="4265634" y="531163"/>
                    <a:pt x="4241217" y="541240"/>
                    <a:pt x="4214087" y="561394"/>
                  </a:cubicBezTo>
                  <a:cubicBezTo>
                    <a:pt x="4184631" y="586199"/>
                    <a:pt x="4169903" y="638909"/>
                    <a:pt x="4169903" y="719524"/>
                  </a:cubicBezTo>
                  <a:cubicBezTo>
                    <a:pt x="4169903" y="778435"/>
                    <a:pt x="4176880" y="823393"/>
                    <a:pt x="4190832" y="854399"/>
                  </a:cubicBezTo>
                  <a:cubicBezTo>
                    <a:pt x="4207886" y="897807"/>
                    <a:pt x="4239279" y="918736"/>
                    <a:pt x="4285013" y="917186"/>
                  </a:cubicBezTo>
                  <a:cubicBezTo>
                    <a:pt x="4330746" y="917186"/>
                    <a:pt x="4360589" y="896645"/>
                    <a:pt x="4374542" y="855562"/>
                  </a:cubicBezTo>
                  <a:cubicBezTo>
                    <a:pt x="4388495" y="812929"/>
                    <a:pt x="4395471" y="769521"/>
                    <a:pt x="4395471" y="725337"/>
                  </a:cubicBezTo>
                  <a:cubicBezTo>
                    <a:pt x="4395471" y="671077"/>
                    <a:pt x="4385782" y="624956"/>
                    <a:pt x="4366403" y="586974"/>
                  </a:cubicBezTo>
                  <a:cubicBezTo>
                    <a:pt x="4346249" y="549767"/>
                    <a:pt x="4319894" y="531163"/>
                    <a:pt x="4287338" y="531163"/>
                  </a:cubicBezTo>
                  <a:close/>
                  <a:moveTo>
                    <a:pt x="1887038" y="531163"/>
                  </a:moveTo>
                  <a:cubicBezTo>
                    <a:pt x="1865334" y="531163"/>
                    <a:pt x="1840917" y="541240"/>
                    <a:pt x="1813787" y="561394"/>
                  </a:cubicBezTo>
                  <a:cubicBezTo>
                    <a:pt x="1784331" y="586199"/>
                    <a:pt x="1769603" y="638909"/>
                    <a:pt x="1769603" y="719524"/>
                  </a:cubicBezTo>
                  <a:cubicBezTo>
                    <a:pt x="1769603" y="778435"/>
                    <a:pt x="1776580" y="823393"/>
                    <a:pt x="1790533" y="854399"/>
                  </a:cubicBezTo>
                  <a:cubicBezTo>
                    <a:pt x="1807586" y="897807"/>
                    <a:pt x="1838979" y="918736"/>
                    <a:pt x="1884713" y="917186"/>
                  </a:cubicBezTo>
                  <a:cubicBezTo>
                    <a:pt x="1930446" y="917186"/>
                    <a:pt x="1960290" y="896645"/>
                    <a:pt x="1974242" y="855562"/>
                  </a:cubicBezTo>
                  <a:cubicBezTo>
                    <a:pt x="1988195" y="812929"/>
                    <a:pt x="1995171" y="769521"/>
                    <a:pt x="1995171" y="725337"/>
                  </a:cubicBezTo>
                  <a:cubicBezTo>
                    <a:pt x="1995171" y="671077"/>
                    <a:pt x="1985482" y="624956"/>
                    <a:pt x="1966103" y="586974"/>
                  </a:cubicBezTo>
                  <a:cubicBezTo>
                    <a:pt x="1945949" y="549767"/>
                    <a:pt x="1919594" y="531163"/>
                    <a:pt x="1887038" y="531163"/>
                  </a:cubicBezTo>
                  <a:close/>
                  <a:moveTo>
                    <a:pt x="2619430" y="330013"/>
                  </a:moveTo>
                  <a:lnTo>
                    <a:pt x="2619430" y="576509"/>
                  </a:lnTo>
                  <a:cubicBezTo>
                    <a:pt x="2619430" y="667976"/>
                    <a:pt x="2620206" y="750917"/>
                    <a:pt x="2621756" y="825331"/>
                  </a:cubicBezTo>
                  <a:cubicBezTo>
                    <a:pt x="2623306" y="899745"/>
                    <a:pt x="2625632" y="966408"/>
                    <a:pt x="2628732" y="1025319"/>
                  </a:cubicBezTo>
                  <a:lnTo>
                    <a:pt x="2631058" y="1110198"/>
                  </a:lnTo>
                  <a:cubicBezTo>
                    <a:pt x="2631058" y="1133452"/>
                    <a:pt x="2628732" y="1147792"/>
                    <a:pt x="2624081" y="1153218"/>
                  </a:cubicBezTo>
                  <a:lnTo>
                    <a:pt x="2333402" y="1141591"/>
                  </a:lnTo>
                  <a:lnTo>
                    <a:pt x="2335727" y="596275"/>
                  </a:lnTo>
                  <a:cubicBezTo>
                    <a:pt x="2336502" y="559068"/>
                    <a:pt x="2336890" y="519148"/>
                    <a:pt x="2336890" y="476515"/>
                  </a:cubicBezTo>
                  <a:cubicBezTo>
                    <a:pt x="2336890" y="433882"/>
                    <a:pt x="2336890" y="387761"/>
                    <a:pt x="2336890" y="338152"/>
                  </a:cubicBezTo>
                  <a:lnTo>
                    <a:pt x="2404327" y="338152"/>
                  </a:lnTo>
                  <a:cubicBezTo>
                    <a:pt x="2426807" y="338152"/>
                    <a:pt x="2449867" y="337764"/>
                    <a:pt x="2473509" y="336989"/>
                  </a:cubicBezTo>
                  <a:cubicBezTo>
                    <a:pt x="2497151" y="336214"/>
                    <a:pt x="2521374" y="335051"/>
                    <a:pt x="2546179" y="333501"/>
                  </a:cubicBezTo>
                  <a:close/>
                  <a:moveTo>
                    <a:pt x="3461165" y="311409"/>
                  </a:moveTo>
                  <a:cubicBezTo>
                    <a:pt x="3576662" y="311409"/>
                    <a:pt x="3664254" y="335051"/>
                    <a:pt x="3723940" y="382335"/>
                  </a:cubicBezTo>
                  <a:cubicBezTo>
                    <a:pt x="3791378" y="435820"/>
                    <a:pt x="3825096" y="542403"/>
                    <a:pt x="3825096" y="702083"/>
                  </a:cubicBezTo>
                  <a:cubicBezTo>
                    <a:pt x="3825096" y="854787"/>
                    <a:pt x="3797191" y="965245"/>
                    <a:pt x="3741381" y="1033458"/>
                  </a:cubicBezTo>
                  <a:cubicBezTo>
                    <a:pt x="3681694" y="1107872"/>
                    <a:pt x="3566585" y="1145079"/>
                    <a:pt x="3396053" y="1145079"/>
                  </a:cubicBezTo>
                  <a:lnTo>
                    <a:pt x="3335591" y="1145079"/>
                  </a:lnTo>
                  <a:cubicBezTo>
                    <a:pt x="3241024" y="1145079"/>
                    <a:pt x="3164284" y="1143916"/>
                    <a:pt x="3105373" y="1141591"/>
                  </a:cubicBezTo>
                  <a:lnTo>
                    <a:pt x="3120488" y="856725"/>
                  </a:lnTo>
                  <a:lnTo>
                    <a:pt x="3120488" y="831145"/>
                  </a:lnTo>
                  <a:lnTo>
                    <a:pt x="3100722" y="831145"/>
                  </a:lnTo>
                  <a:cubicBezTo>
                    <a:pt x="3099947" y="824944"/>
                    <a:pt x="3099559" y="816223"/>
                    <a:pt x="3099559" y="804984"/>
                  </a:cubicBezTo>
                  <a:cubicBezTo>
                    <a:pt x="3099559" y="793744"/>
                    <a:pt x="3099559" y="779598"/>
                    <a:pt x="3099559" y="762544"/>
                  </a:cubicBezTo>
                  <a:lnTo>
                    <a:pt x="3099559" y="700920"/>
                  </a:lnTo>
                  <a:cubicBezTo>
                    <a:pt x="3099559" y="686192"/>
                    <a:pt x="3099559" y="673790"/>
                    <a:pt x="3099559" y="663713"/>
                  </a:cubicBezTo>
                  <a:cubicBezTo>
                    <a:pt x="3099559" y="653636"/>
                    <a:pt x="3099172" y="645885"/>
                    <a:pt x="3098397" y="640459"/>
                  </a:cubicBezTo>
                  <a:lnTo>
                    <a:pt x="3125139" y="640459"/>
                  </a:lnTo>
                  <a:lnTo>
                    <a:pt x="3121651" y="320711"/>
                  </a:lnTo>
                  <a:lnTo>
                    <a:pt x="3190251" y="319548"/>
                  </a:lnTo>
                  <a:cubicBezTo>
                    <a:pt x="3203429" y="319548"/>
                    <a:pt x="3250713" y="318385"/>
                    <a:pt x="3332103" y="316060"/>
                  </a:cubicBezTo>
                  <a:cubicBezTo>
                    <a:pt x="3349932" y="314510"/>
                    <a:pt x="3369698" y="313347"/>
                    <a:pt x="3391402" y="312572"/>
                  </a:cubicBezTo>
                  <a:cubicBezTo>
                    <a:pt x="3413106" y="311797"/>
                    <a:pt x="3436361" y="311409"/>
                    <a:pt x="3461165" y="311409"/>
                  </a:cubicBezTo>
                  <a:close/>
                  <a:moveTo>
                    <a:pt x="4740678" y="286992"/>
                  </a:moveTo>
                  <a:cubicBezTo>
                    <a:pt x="4746879" y="286992"/>
                    <a:pt x="4761607" y="287961"/>
                    <a:pt x="4784861" y="289899"/>
                  </a:cubicBezTo>
                  <a:cubicBezTo>
                    <a:pt x="4808116" y="291837"/>
                    <a:pt x="4839897" y="294743"/>
                    <a:pt x="4880204" y="298619"/>
                  </a:cubicBezTo>
                  <a:cubicBezTo>
                    <a:pt x="4924388" y="302495"/>
                    <a:pt x="4960432" y="305595"/>
                    <a:pt x="4988337" y="307921"/>
                  </a:cubicBezTo>
                  <a:cubicBezTo>
                    <a:pt x="5016242" y="310246"/>
                    <a:pt x="5036784" y="311409"/>
                    <a:pt x="5049961" y="311409"/>
                  </a:cubicBezTo>
                  <a:cubicBezTo>
                    <a:pt x="5098795" y="311409"/>
                    <a:pt x="5124375" y="312959"/>
                    <a:pt x="5126701" y="316060"/>
                  </a:cubicBezTo>
                  <a:cubicBezTo>
                    <a:pt x="5131352" y="323811"/>
                    <a:pt x="5150343" y="396675"/>
                    <a:pt x="5183674" y="534651"/>
                  </a:cubicBezTo>
                  <a:cubicBezTo>
                    <a:pt x="5196852" y="590462"/>
                    <a:pt x="5210029" y="647241"/>
                    <a:pt x="5223207" y="704990"/>
                  </a:cubicBezTo>
                  <a:cubicBezTo>
                    <a:pt x="5236384" y="762738"/>
                    <a:pt x="5249561" y="821843"/>
                    <a:pt x="5262739" y="882304"/>
                  </a:cubicBezTo>
                  <a:lnTo>
                    <a:pt x="5262739" y="848586"/>
                  </a:lnTo>
                  <a:cubicBezTo>
                    <a:pt x="5262739" y="723012"/>
                    <a:pt x="5260414" y="632320"/>
                    <a:pt x="5255763" y="576509"/>
                  </a:cubicBezTo>
                  <a:lnTo>
                    <a:pt x="5237159" y="324199"/>
                  </a:lnTo>
                  <a:cubicBezTo>
                    <a:pt x="5406141" y="324199"/>
                    <a:pt x="5492957" y="326524"/>
                    <a:pt x="5497608" y="331175"/>
                  </a:cubicBezTo>
                  <a:cubicBezTo>
                    <a:pt x="5499159" y="332726"/>
                    <a:pt x="5499934" y="359856"/>
                    <a:pt x="5499934" y="412566"/>
                  </a:cubicBezTo>
                  <a:cubicBezTo>
                    <a:pt x="5499934" y="444347"/>
                    <a:pt x="5499934" y="476321"/>
                    <a:pt x="5499934" y="508490"/>
                  </a:cubicBezTo>
                  <a:cubicBezTo>
                    <a:pt x="5499934" y="540659"/>
                    <a:pt x="5499546" y="574184"/>
                    <a:pt x="5498771" y="609065"/>
                  </a:cubicBezTo>
                  <a:cubicBezTo>
                    <a:pt x="5497996" y="643947"/>
                    <a:pt x="5497608" y="681348"/>
                    <a:pt x="5497608" y="721268"/>
                  </a:cubicBezTo>
                  <a:cubicBezTo>
                    <a:pt x="5497608" y="761188"/>
                    <a:pt x="5497608" y="804402"/>
                    <a:pt x="5497608" y="850911"/>
                  </a:cubicBezTo>
                  <a:cubicBezTo>
                    <a:pt x="5497608" y="919124"/>
                    <a:pt x="5498190" y="977648"/>
                    <a:pt x="5499352" y="1026482"/>
                  </a:cubicBezTo>
                  <a:cubicBezTo>
                    <a:pt x="5500515" y="1075316"/>
                    <a:pt x="5501871" y="1114848"/>
                    <a:pt x="5503422" y="1145079"/>
                  </a:cubicBezTo>
                  <a:lnTo>
                    <a:pt x="5444123" y="1149730"/>
                  </a:lnTo>
                  <a:lnTo>
                    <a:pt x="5253437" y="1145079"/>
                  </a:lnTo>
                  <a:lnTo>
                    <a:pt x="5129026" y="1135777"/>
                  </a:lnTo>
                  <a:cubicBezTo>
                    <a:pt x="5125150" y="1128801"/>
                    <a:pt x="5122825" y="1119499"/>
                    <a:pt x="5122050" y="1107872"/>
                  </a:cubicBezTo>
                  <a:lnTo>
                    <a:pt x="4987174" y="588136"/>
                  </a:lnTo>
                  <a:cubicBezTo>
                    <a:pt x="4987174" y="620693"/>
                    <a:pt x="4987174" y="656156"/>
                    <a:pt x="4987174" y="694525"/>
                  </a:cubicBezTo>
                  <a:cubicBezTo>
                    <a:pt x="4987174" y="732895"/>
                    <a:pt x="4986787" y="774947"/>
                    <a:pt x="4986012" y="820680"/>
                  </a:cubicBezTo>
                  <a:lnTo>
                    <a:pt x="4983686" y="1163683"/>
                  </a:lnTo>
                  <a:lnTo>
                    <a:pt x="4889506" y="1160195"/>
                  </a:lnTo>
                  <a:cubicBezTo>
                    <a:pt x="4864701" y="1158644"/>
                    <a:pt x="4842609" y="1157482"/>
                    <a:pt x="4823231" y="1156706"/>
                  </a:cubicBezTo>
                  <a:cubicBezTo>
                    <a:pt x="4803852" y="1155931"/>
                    <a:pt x="4787574" y="1155544"/>
                    <a:pt x="4774397" y="1155544"/>
                  </a:cubicBezTo>
                  <a:lnTo>
                    <a:pt x="4743003" y="1155544"/>
                  </a:lnTo>
                  <a:cubicBezTo>
                    <a:pt x="4730601" y="1155544"/>
                    <a:pt x="4724400" y="1154381"/>
                    <a:pt x="4724400" y="1152056"/>
                  </a:cubicBezTo>
                  <a:lnTo>
                    <a:pt x="4724400" y="1150893"/>
                  </a:lnTo>
                  <a:cubicBezTo>
                    <a:pt x="4724400" y="581935"/>
                    <a:pt x="4727501" y="294356"/>
                    <a:pt x="4733702" y="288155"/>
                  </a:cubicBezTo>
                  <a:cubicBezTo>
                    <a:pt x="4734477" y="287379"/>
                    <a:pt x="4736802" y="286992"/>
                    <a:pt x="4740678" y="286992"/>
                  </a:cubicBezTo>
                  <a:close/>
                  <a:moveTo>
                    <a:pt x="749926" y="281178"/>
                  </a:moveTo>
                  <a:cubicBezTo>
                    <a:pt x="763104" y="281178"/>
                    <a:pt x="784033" y="281953"/>
                    <a:pt x="812713" y="283504"/>
                  </a:cubicBezTo>
                  <a:cubicBezTo>
                    <a:pt x="841393" y="285054"/>
                    <a:pt x="878213" y="287379"/>
                    <a:pt x="923172" y="290480"/>
                  </a:cubicBezTo>
                  <a:lnTo>
                    <a:pt x="1006887" y="297456"/>
                  </a:lnTo>
                  <a:lnTo>
                    <a:pt x="1004562" y="617204"/>
                  </a:lnTo>
                  <a:lnTo>
                    <a:pt x="1079575" y="612554"/>
                  </a:lnTo>
                  <a:cubicBezTo>
                    <a:pt x="1083488" y="611778"/>
                    <a:pt x="1088959" y="611000"/>
                    <a:pt x="1095990" y="610219"/>
                  </a:cubicBezTo>
                  <a:cubicBezTo>
                    <a:pt x="1103021" y="609438"/>
                    <a:pt x="1110836" y="608272"/>
                    <a:pt x="1119435" y="606722"/>
                  </a:cubicBezTo>
                  <a:lnTo>
                    <a:pt x="1148739" y="602053"/>
                  </a:lnTo>
                  <a:lnTo>
                    <a:pt x="1148739" y="318385"/>
                  </a:lnTo>
                  <a:lnTo>
                    <a:pt x="1165017" y="318385"/>
                  </a:lnTo>
                  <a:cubicBezTo>
                    <a:pt x="1193698" y="318385"/>
                    <a:pt x="1235556" y="314897"/>
                    <a:pt x="1290591" y="307921"/>
                  </a:cubicBezTo>
                  <a:cubicBezTo>
                    <a:pt x="1344076" y="302495"/>
                    <a:pt x="1384384" y="299007"/>
                    <a:pt x="1411514" y="297456"/>
                  </a:cubicBezTo>
                  <a:lnTo>
                    <a:pt x="1408026" y="604414"/>
                  </a:lnTo>
                  <a:cubicBezTo>
                    <a:pt x="1408026" y="680379"/>
                    <a:pt x="1408026" y="739096"/>
                    <a:pt x="1408026" y="780567"/>
                  </a:cubicBezTo>
                  <a:cubicBezTo>
                    <a:pt x="1408026" y="822037"/>
                    <a:pt x="1408413" y="846648"/>
                    <a:pt x="1409188" y="854399"/>
                  </a:cubicBezTo>
                  <a:lnTo>
                    <a:pt x="1419653" y="1160195"/>
                  </a:lnTo>
                  <a:lnTo>
                    <a:pt x="1142962" y="1163683"/>
                  </a:lnTo>
                  <a:cubicBezTo>
                    <a:pt x="1138287" y="1159032"/>
                    <a:pt x="1135949" y="1145467"/>
                    <a:pt x="1135949" y="1122988"/>
                  </a:cubicBezTo>
                  <a:lnTo>
                    <a:pt x="1146414" y="799751"/>
                  </a:lnTo>
                  <a:lnTo>
                    <a:pt x="1006887" y="806728"/>
                  </a:lnTo>
                  <a:lnTo>
                    <a:pt x="1022003" y="1141591"/>
                  </a:lnTo>
                  <a:lnTo>
                    <a:pt x="745275" y="1145079"/>
                  </a:lnTo>
                  <a:cubicBezTo>
                    <a:pt x="740624" y="1140428"/>
                    <a:pt x="738299" y="1126088"/>
                    <a:pt x="738299" y="1102059"/>
                  </a:cubicBezTo>
                  <a:lnTo>
                    <a:pt x="747601" y="831145"/>
                  </a:lnTo>
                  <a:cubicBezTo>
                    <a:pt x="748376" y="777660"/>
                    <a:pt x="748957" y="729213"/>
                    <a:pt x="749345" y="685805"/>
                  </a:cubicBezTo>
                  <a:cubicBezTo>
                    <a:pt x="749732" y="642397"/>
                    <a:pt x="749926" y="603252"/>
                    <a:pt x="749926" y="568370"/>
                  </a:cubicBezTo>
                  <a:close/>
                  <a:moveTo>
                    <a:pt x="642984" y="280016"/>
                  </a:moveTo>
                  <a:lnTo>
                    <a:pt x="660425" y="281178"/>
                  </a:lnTo>
                  <a:cubicBezTo>
                    <a:pt x="659650" y="285054"/>
                    <a:pt x="659262" y="290868"/>
                    <a:pt x="659262" y="298619"/>
                  </a:cubicBezTo>
                  <a:cubicBezTo>
                    <a:pt x="659262" y="306371"/>
                    <a:pt x="659262" y="316447"/>
                    <a:pt x="659262" y="328850"/>
                  </a:cubicBezTo>
                  <a:lnTo>
                    <a:pt x="663913" y="516048"/>
                  </a:lnTo>
                  <a:cubicBezTo>
                    <a:pt x="663913" y="586586"/>
                    <a:pt x="644922" y="634645"/>
                    <a:pt x="606940" y="660225"/>
                  </a:cubicBezTo>
                  <a:cubicBezTo>
                    <a:pt x="601513" y="664101"/>
                    <a:pt x="595506" y="667395"/>
                    <a:pt x="588918" y="670108"/>
                  </a:cubicBezTo>
                  <a:cubicBezTo>
                    <a:pt x="582329" y="672821"/>
                    <a:pt x="575159" y="674953"/>
                    <a:pt x="567407" y="676503"/>
                  </a:cubicBezTo>
                  <a:cubicBezTo>
                    <a:pt x="555780" y="678829"/>
                    <a:pt x="549966" y="680379"/>
                    <a:pt x="549966" y="681154"/>
                  </a:cubicBezTo>
                  <a:cubicBezTo>
                    <a:pt x="579931" y="691231"/>
                    <a:pt x="608357" y="715648"/>
                    <a:pt x="635245" y="754405"/>
                  </a:cubicBezTo>
                  <a:cubicBezTo>
                    <a:pt x="665984" y="797814"/>
                    <a:pt x="681354" y="875328"/>
                    <a:pt x="681354" y="986949"/>
                  </a:cubicBezTo>
                  <a:lnTo>
                    <a:pt x="680191" y="1047411"/>
                  </a:lnTo>
                  <a:cubicBezTo>
                    <a:pt x="680191" y="1076866"/>
                    <a:pt x="681354" y="1104772"/>
                    <a:pt x="683679" y="1131127"/>
                  </a:cubicBezTo>
                  <a:cubicBezTo>
                    <a:pt x="684454" y="1144304"/>
                    <a:pt x="685036" y="1153800"/>
                    <a:pt x="685423" y="1159613"/>
                  </a:cubicBezTo>
                  <a:lnTo>
                    <a:pt x="685849" y="1165156"/>
                  </a:lnTo>
                  <a:lnTo>
                    <a:pt x="684842" y="1167171"/>
                  </a:lnTo>
                  <a:cubicBezTo>
                    <a:pt x="684067" y="1170271"/>
                    <a:pt x="665160" y="1171822"/>
                    <a:pt x="628123" y="1171822"/>
                  </a:cubicBezTo>
                  <a:cubicBezTo>
                    <a:pt x="606516" y="1171822"/>
                    <a:pt x="589151" y="1171822"/>
                    <a:pt x="576027" y="1171822"/>
                  </a:cubicBezTo>
                  <a:cubicBezTo>
                    <a:pt x="562905" y="1171822"/>
                    <a:pt x="553261" y="1172209"/>
                    <a:pt x="547096" y="1172984"/>
                  </a:cubicBezTo>
                  <a:cubicBezTo>
                    <a:pt x="534742" y="1172984"/>
                    <a:pt x="523935" y="1172984"/>
                    <a:pt x="514676" y="1172984"/>
                  </a:cubicBezTo>
                  <a:cubicBezTo>
                    <a:pt x="505417" y="1172984"/>
                    <a:pt x="497699" y="1173372"/>
                    <a:pt x="491522" y="1174147"/>
                  </a:cubicBezTo>
                  <a:cubicBezTo>
                    <a:pt x="487670" y="1174922"/>
                    <a:pt x="483234" y="1175310"/>
                    <a:pt x="478214" y="1175310"/>
                  </a:cubicBezTo>
                  <a:cubicBezTo>
                    <a:pt x="473193" y="1175310"/>
                    <a:pt x="466826" y="1175310"/>
                    <a:pt x="459111" y="1175310"/>
                  </a:cubicBezTo>
                  <a:lnTo>
                    <a:pt x="419742" y="1176473"/>
                  </a:lnTo>
                  <a:lnTo>
                    <a:pt x="423230" y="1048573"/>
                  </a:lnTo>
                  <a:cubicBezTo>
                    <a:pt x="423230" y="1003615"/>
                    <a:pt x="419742" y="959432"/>
                    <a:pt x="412766" y="916023"/>
                  </a:cubicBezTo>
                  <a:cubicBezTo>
                    <a:pt x="405789" y="874165"/>
                    <a:pt x="396487" y="846260"/>
                    <a:pt x="384860" y="832308"/>
                  </a:cubicBezTo>
                  <a:cubicBezTo>
                    <a:pt x="367807" y="810603"/>
                    <a:pt x="344940" y="799751"/>
                    <a:pt x="316260" y="799751"/>
                  </a:cubicBezTo>
                  <a:lnTo>
                    <a:pt x="297656" y="802077"/>
                  </a:lnTo>
                  <a:cubicBezTo>
                    <a:pt x="288354" y="805953"/>
                    <a:pt x="283704" y="821843"/>
                    <a:pt x="283704" y="849748"/>
                  </a:cubicBezTo>
                  <a:cubicBezTo>
                    <a:pt x="283704" y="891606"/>
                    <a:pt x="284866" y="940828"/>
                    <a:pt x="287192" y="997414"/>
                  </a:cubicBezTo>
                  <a:lnTo>
                    <a:pt x="293005" y="1145079"/>
                  </a:lnTo>
                  <a:lnTo>
                    <a:pt x="0" y="1156706"/>
                  </a:lnTo>
                  <a:lnTo>
                    <a:pt x="3488" y="293968"/>
                  </a:lnTo>
                  <a:cubicBezTo>
                    <a:pt x="3488" y="290093"/>
                    <a:pt x="59299" y="288155"/>
                    <a:pt x="170920" y="288155"/>
                  </a:cubicBezTo>
                  <a:lnTo>
                    <a:pt x="260449" y="290480"/>
                  </a:lnTo>
                  <a:lnTo>
                    <a:pt x="277890" y="605577"/>
                  </a:lnTo>
                  <a:cubicBezTo>
                    <a:pt x="283316" y="607903"/>
                    <a:pt x="289129" y="609065"/>
                    <a:pt x="295331" y="609065"/>
                  </a:cubicBezTo>
                  <a:cubicBezTo>
                    <a:pt x="365094" y="609065"/>
                    <a:pt x="399976" y="562944"/>
                    <a:pt x="399976" y="470702"/>
                  </a:cubicBezTo>
                  <a:lnTo>
                    <a:pt x="397650" y="288155"/>
                  </a:lnTo>
                  <a:lnTo>
                    <a:pt x="426718" y="288155"/>
                  </a:lnTo>
                  <a:cubicBezTo>
                    <a:pt x="440671" y="288155"/>
                    <a:pt x="456949" y="287767"/>
                    <a:pt x="475552" y="286992"/>
                  </a:cubicBezTo>
                  <a:cubicBezTo>
                    <a:pt x="494156" y="286217"/>
                    <a:pt x="515085" y="285054"/>
                    <a:pt x="538339" y="283504"/>
                  </a:cubicBezTo>
                  <a:cubicBezTo>
                    <a:pt x="590274" y="281178"/>
                    <a:pt x="625156" y="280016"/>
                    <a:pt x="642984" y="280016"/>
                  </a:cubicBezTo>
                  <a:close/>
                  <a:moveTo>
                    <a:pt x="4316406" y="270714"/>
                  </a:moveTo>
                  <a:cubicBezTo>
                    <a:pt x="4358264" y="270714"/>
                    <a:pt x="4398959" y="276527"/>
                    <a:pt x="4438492" y="288155"/>
                  </a:cubicBezTo>
                  <a:cubicBezTo>
                    <a:pt x="4511355" y="312184"/>
                    <a:pt x="4568329" y="362569"/>
                    <a:pt x="4609411" y="439308"/>
                  </a:cubicBezTo>
                  <a:cubicBezTo>
                    <a:pt x="4650494" y="517598"/>
                    <a:pt x="4671036" y="604414"/>
                    <a:pt x="4671036" y="699758"/>
                  </a:cubicBezTo>
                  <a:cubicBezTo>
                    <a:pt x="4671036" y="829207"/>
                    <a:pt x="4637317" y="938503"/>
                    <a:pt x="4569879" y="1027644"/>
                  </a:cubicBezTo>
                  <a:cubicBezTo>
                    <a:pt x="4491589" y="1129964"/>
                    <a:pt x="4385782" y="1181123"/>
                    <a:pt x="4252456" y="1181123"/>
                  </a:cubicBezTo>
                  <a:cubicBezTo>
                    <a:pt x="4136960" y="1181123"/>
                    <a:pt x="4046268" y="1147405"/>
                    <a:pt x="3980380" y="1079967"/>
                  </a:cubicBezTo>
                  <a:cubicBezTo>
                    <a:pt x="3913717" y="1011754"/>
                    <a:pt x="3878836" y="916411"/>
                    <a:pt x="3875735" y="793938"/>
                  </a:cubicBezTo>
                  <a:cubicBezTo>
                    <a:pt x="3874960" y="790062"/>
                    <a:pt x="3874572" y="778435"/>
                    <a:pt x="3874572" y="759056"/>
                  </a:cubicBezTo>
                  <a:cubicBezTo>
                    <a:pt x="3874572" y="609453"/>
                    <a:pt x="3909454" y="494344"/>
                    <a:pt x="3979217" y="413728"/>
                  </a:cubicBezTo>
                  <a:cubicBezTo>
                    <a:pt x="4009448" y="378072"/>
                    <a:pt x="4044717" y="349391"/>
                    <a:pt x="4085025" y="327687"/>
                  </a:cubicBezTo>
                  <a:cubicBezTo>
                    <a:pt x="4153238" y="289705"/>
                    <a:pt x="4230365" y="270714"/>
                    <a:pt x="4316406" y="270714"/>
                  </a:cubicBezTo>
                  <a:close/>
                  <a:moveTo>
                    <a:pt x="5986053" y="261412"/>
                  </a:moveTo>
                  <a:lnTo>
                    <a:pt x="5988378" y="261412"/>
                  </a:lnTo>
                  <a:cubicBezTo>
                    <a:pt x="5996905" y="261412"/>
                    <a:pt x="6007951" y="262187"/>
                    <a:pt x="6021516" y="263738"/>
                  </a:cubicBezTo>
                  <a:cubicBezTo>
                    <a:pt x="6035081" y="265288"/>
                    <a:pt x="6050778" y="267613"/>
                    <a:pt x="6068606" y="270714"/>
                  </a:cubicBezTo>
                  <a:cubicBezTo>
                    <a:pt x="6078683" y="272264"/>
                    <a:pt x="6089341" y="274783"/>
                    <a:pt x="6100581" y="278272"/>
                  </a:cubicBezTo>
                  <a:cubicBezTo>
                    <a:pt x="6111821" y="281760"/>
                    <a:pt x="6123642" y="286604"/>
                    <a:pt x="6136044" y="292806"/>
                  </a:cubicBezTo>
                  <a:cubicBezTo>
                    <a:pt x="6229061" y="337764"/>
                    <a:pt x="6281772" y="410240"/>
                    <a:pt x="6294174" y="510234"/>
                  </a:cubicBezTo>
                  <a:cubicBezTo>
                    <a:pt x="6297274" y="528838"/>
                    <a:pt x="6299406" y="544728"/>
                    <a:pt x="6300568" y="557906"/>
                  </a:cubicBezTo>
                  <a:cubicBezTo>
                    <a:pt x="6301731" y="571083"/>
                    <a:pt x="6302312" y="581935"/>
                    <a:pt x="6302312" y="590462"/>
                  </a:cubicBezTo>
                  <a:lnTo>
                    <a:pt x="6203482" y="599764"/>
                  </a:lnTo>
                  <a:lnTo>
                    <a:pt x="6050003" y="611391"/>
                  </a:lnTo>
                  <a:lnTo>
                    <a:pt x="6050003" y="592787"/>
                  </a:lnTo>
                  <a:cubicBezTo>
                    <a:pt x="6050003" y="573409"/>
                    <a:pt x="6041864" y="557131"/>
                    <a:pt x="6025585" y="543953"/>
                  </a:cubicBezTo>
                  <a:cubicBezTo>
                    <a:pt x="6008532" y="530776"/>
                    <a:pt x="5989154" y="524187"/>
                    <a:pt x="5967449" y="524187"/>
                  </a:cubicBezTo>
                  <a:cubicBezTo>
                    <a:pt x="5922491" y="524187"/>
                    <a:pt x="5886447" y="549379"/>
                    <a:pt x="5859317" y="599764"/>
                  </a:cubicBezTo>
                  <a:cubicBezTo>
                    <a:pt x="5835287" y="647823"/>
                    <a:pt x="5823272" y="701308"/>
                    <a:pt x="5823272" y="760219"/>
                  </a:cubicBezTo>
                  <a:cubicBezTo>
                    <a:pt x="5823272" y="840059"/>
                    <a:pt x="5842263" y="891606"/>
                    <a:pt x="5880245" y="914861"/>
                  </a:cubicBezTo>
                  <a:cubicBezTo>
                    <a:pt x="5897299" y="924938"/>
                    <a:pt x="5915515" y="929976"/>
                    <a:pt x="5934893" y="929976"/>
                  </a:cubicBezTo>
                  <a:cubicBezTo>
                    <a:pt x="5958148" y="929976"/>
                    <a:pt x="5978689" y="923000"/>
                    <a:pt x="5996517" y="909047"/>
                  </a:cubicBezTo>
                  <a:cubicBezTo>
                    <a:pt x="6013571" y="894319"/>
                    <a:pt x="6022097" y="876491"/>
                    <a:pt x="6022097" y="855562"/>
                  </a:cubicBezTo>
                  <a:lnTo>
                    <a:pt x="5939544" y="852074"/>
                  </a:lnTo>
                  <a:lnTo>
                    <a:pt x="5939544" y="790450"/>
                  </a:lnTo>
                  <a:cubicBezTo>
                    <a:pt x="5939544" y="749367"/>
                    <a:pt x="5942257" y="727275"/>
                    <a:pt x="5947683" y="724175"/>
                  </a:cubicBezTo>
                  <a:cubicBezTo>
                    <a:pt x="5952334" y="721074"/>
                    <a:pt x="6008920" y="718749"/>
                    <a:pt x="6117440" y="717198"/>
                  </a:cubicBezTo>
                  <a:lnTo>
                    <a:pt x="6281384" y="716036"/>
                  </a:lnTo>
                  <a:lnTo>
                    <a:pt x="6284872" y="748592"/>
                  </a:lnTo>
                  <a:lnTo>
                    <a:pt x="6284872" y="764870"/>
                  </a:lnTo>
                  <a:cubicBezTo>
                    <a:pt x="6284872" y="792775"/>
                    <a:pt x="6281384" y="826882"/>
                    <a:pt x="6274407" y="867189"/>
                  </a:cubicBezTo>
                  <a:cubicBezTo>
                    <a:pt x="6267431" y="909047"/>
                    <a:pt x="6259292" y="943541"/>
                    <a:pt x="6249990" y="970671"/>
                  </a:cubicBezTo>
                  <a:cubicBezTo>
                    <a:pt x="6228286" y="1032683"/>
                    <a:pt x="6187591" y="1080742"/>
                    <a:pt x="6127905" y="1114848"/>
                  </a:cubicBezTo>
                  <a:cubicBezTo>
                    <a:pt x="6068219" y="1149730"/>
                    <a:pt x="6001944" y="1167171"/>
                    <a:pt x="5929080" y="1167171"/>
                  </a:cubicBezTo>
                  <a:cubicBezTo>
                    <a:pt x="5840713" y="1167171"/>
                    <a:pt x="5762424" y="1141591"/>
                    <a:pt x="5694210" y="1090431"/>
                  </a:cubicBezTo>
                  <a:cubicBezTo>
                    <a:pt x="5624447" y="1038497"/>
                    <a:pt x="5582202" y="964470"/>
                    <a:pt x="5567474" y="868352"/>
                  </a:cubicBezTo>
                  <a:cubicBezTo>
                    <a:pt x="5565924" y="852074"/>
                    <a:pt x="5564567" y="836958"/>
                    <a:pt x="5563404" y="823006"/>
                  </a:cubicBezTo>
                  <a:cubicBezTo>
                    <a:pt x="5562242" y="809053"/>
                    <a:pt x="5561660" y="796651"/>
                    <a:pt x="5561660" y="785799"/>
                  </a:cubicBezTo>
                  <a:cubicBezTo>
                    <a:pt x="5561660" y="664876"/>
                    <a:pt x="5582589" y="562944"/>
                    <a:pt x="5624447" y="480003"/>
                  </a:cubicBezTo>
                  <a:cubicBezTo>
                    <a:pt x="5663980" y="402489"/>
                    <a:pt x="5718627" y="345515"/>
                    <a:pt x="5788391" y="309084"/>
                  </a:cubicBezTo>
                  <a:cubicBezTo>
                    <a:pt x="5800793" y="302882"/>
                    <a:pt x="5814358" y="297069"/>
                    <a:pt x="5829086" y="291643"/>
                  </a:cubicBezTo>
                  <a:cubicBezTo>
                    <a:pt x="5843814" y="286217"/>
                    <a:pt x="5859704" y="281178"/>
                    <a:pt x="5876757" y="276527"/>
                  </a:cubicBezTo>
                  <a:cubicBezTo>
                    <a:pt x="5917840" y="266451"/>
                    <a:pt x="5954272" y="261412"/>
                    <a:pt x="5986053" y="261412"/>
                  </a:cubicBezTo>
                  <a:close/>
                  <a:moveTo>
                    <a:pt x="2195159" y="191649"/>
                  </a:moveTo>
                  <a:lnTo>
                    <a:pt x="2219576" y="205602"/>
                  </a:lnTo>
                  <a:cubicBezTo>
                    <a:pt x="2300191" y="253661"/>
                    <a:pt x="2322670" y="312184"/>
                    <a:pt x="2287014" y="381172"/>
                  </a:cubicBezTo>
                  <a:lnTo>
                    <a:pt x="2284688" y="385823"/>
                  </a:lnTo>
                  <a:cubicBezTo>
                    <a:pt x="2268410" y="416054"/>
                    <a:pt x="2244381" y="436595"/>
                    <a:pt x="2212600" y="447447"/>
                  </a:cubicBezTo>
                  <a:cubicBezTo>
                    <a:pt x="2251357" y="523412"/>
                    <a:pt x="2270736" y="607515"/>
                    <a:pt x="2270736" y="699758"/>
                  </a:cubicBezTo>
                  <a:cubicBezTo>
                    <a:pt x="2270736" y="829207"/>
                    <a:pt x="2237017" y="938503"/>
                    <a:pt x="2169579" y="1027644"/>
                  </a:cubicBezTo>
                  <a:cubicBezTo>
                    <a:pt x="2091289" y="1129964"/>
                    <a:pt x="1985482" y="1181123"/>
                    <a:pt x="1852157" y="1181123"/>
                  </a:cubicBezTo>
                  <a:cubicBezTo>
                    <a:pt x="1736660" y="1181123"/>
                    <a:pt x="1645968" y="1147405"/>
                    <a:pt x="1580080" y="1079967"/>
                  </a:cubicBezTo>
                  <a:cubicBezTo>
                    <a:pt x="1513418" y="1011754"/>
                    <a:pt x="1478536" y="916411"/>
                    <a:pt x="1475436" y="793938"/>
                  </a:cubicBezTo>
                  <a:cubicBezTo>
                    <a:pt x="1474660" y="790062"/>
                    <a:pt x="1474273" y="778435"/>
                    <a:pt x="1474273" y="759056"/>
                  </a:cubicBezTo>
                  <a:cubicBezTo>
                    <a:pt x="1474273" y="609453"/>
                    <a:pt x="1509154" y="494344"/>
                    <a:pt x="1578918" y="413728"/>
                  </a:cubicBezTo>
                  <a:cubicBezTo>
                    <a:pt x="1609148" y="378072"/>
                    <a:pt x="1644417" y="349391"/>
                    <a:pt x="1684725" y="327687"/>
                  </a:cubicBezTo>
                  <a:cubicBezTo>
                    <a:pt x="1752938" y="289705"/>
                    <a:pt x="1830065" y="270714"/>
                    <a:pt x="1916106" y="270714"/>
                  </a:cubicBezTo>
                  <a:cubicBezTo>
                    <a:pt x="1957964" y="270714"/>
                    <a:pt x="1998659" y="276527"/>
                    <a:pt x="2038192" y="288155"/>
                  </a:cubicBezTo>
                  <a:cubicBezTo>
                    <a:pt x="2090902" y="305983"/>
                    <a:pt x="2134310" y="335826"/>
                    <a:pt x="2168416" y="377684"/>
                  </a:cubicBezTo>
                  <a:cubicBezTo>
                    <a:pt x="2185470" y="380785"/>
                    <a:pt x="2199034" y="374583"/>
                    <a:pt x="2209112" y="359081"/>
                  </a:cubicBezTo>
                  <a:lnTo>
                    <a:pt x="2210274" y="357918"/>
                  </a:lnTo>
                  <a:cubicBezTo>
                    <a:pt x="2218026" y="340865"/>
                    <a:pt x="2215700" y="324587"/>
                    <a:pt x="2203298" y="309084"/>
                  </a:cubicBezTo>
                  <a:cubicBezTo>
                    <a:pt x="2192446" y="297456"/>
                    <a:pt x="2175393" y="285442"/>
                    <a:pt x="2152138" y="273039"/>
                  </a:cubicBezTo>
                  <a:close/>
                  <a:moveTo>
                    <a:pt x="4176880" y="73051"/>
                  </a:moveTo>
                  <a:lnTo>
                    <a:pt x="4286175" y="76540"/>
                  </a:lnTo>
                  <a:lnTo>
                    <a:pt x="4401285" y="73051"/>
                  </a:lnTo>
                  <a:cubicBezTo>
                    <a:pt x="4404385" y="79277"/>
                    <a:pt x="4409424" y="89027"/>
                    <a:pt x="4416400" y="102301"/>
                  </a:cubicBezTo>
                  <a:cubicBezTo>
                    <a:pt x="4423376" y="115576"/>
                    <a:pt x="4433066" y="132356"/>
                    <a:pt x="4445468" y="152643"/>
                  </a:cubicBezTo>
                  <a:cubicBezTo>
                    <a:pt x="4466397" y="188554"/>
                    <a:pt x="4480737" y="215097"/>
                    <a:pt x="4488489" y="232271"/>
                  </a:cubicBezTo>
                  <a:lnTo>
                    <a:pt x="4486163" y="232271"/>
                  </a:lnTo>
                  <a:cubicBezTo>
                    <a:pt x="4479187" y="232271"/>
                    <a:pt x="4461359" y="234609"/>
                    <a:pt x="4432678" y="239284"/>
                  </a:cubicBezTo>
                  <a:cubicBezTo>
                    <a:pt x="4419501" y="240834"/>
                    <a:pt x="4405161" y="242391"/>
                    <a:pt x="4389657" y="243953"/>
                  </a:cubicBezTo>
                  <a:cubicBezTo>
                    <a:pt x="4374155" y="245516"/>
                    <a:pt x="4357876" y="246684"/>
                    <a:pt x="4340823" y="247459"/>
                  </a:cubicBezTo>
                  <a:cubicBezTo>
                    <a:pt x="4332297" y="234972"/>
                    <a:pt x="4323576" y="221316"/>
                    <a:pt x="4314662" y="206492"/>
                  </a:cubicBezTo>
                  <a:cubicBezTo>
                    <a:pt x="4305748" y="191667"/>
                    <a:pt x="4296640" y="175280"/>
                    <a:pt x="4287338" y="157330"/>
                  </a:cubicBezTo>
                  <a:lnTo>
                    <a:pt x="4226877" y="247459"/>
                  </a:lnTo>
                  <a:cubicBezTo>
                    <a:pt x="4214474" y="246684"/>
                    <a:pt x="4200522" y="246103"/>
                    <a:pt x="4185019" y="245715"/>
                  </a:cubicBezTo>
                  <a:cubicBezTo>
                    <a:pt x="4169516" y="245328"/>
                    <a:pt x="4152850" y="244746"/>
                    <a:pt x="4135022" y="243971"/>
                  </a:cubicBezTo>
                  <a:lnTo>
                    <a:pt x="4057120" y="241628"/>
                  </a:lnTo>
                  <a:cubicBezTo>
                    <a:pt x="4065646" y="228353"/>
                    <a:pt x="4075336" y="214107"/>
                    <a:pt x="4086188" y="198889"/>
                  </a:cubicBezTo>
                  <a:cubicBezTo>
                    <a:pt x="4097040" y="183670"/>
                    <a:pt x="4108667" y="168255"/>
                    <a:pt x="4121069" y="152643"/>
                  </a:cubicBezTo>
                  <a:cubicBezTo>
                    <a:pt x="4148974" y="115182"/>
                    <a:pt x="4167578" y="88651"/>
                    <a:pt x="4176880" y="73051"/>
                  </a:cubicBezTo>
                  <a:close/>
                  <a:moveTo>
                    <a:pt x="1966975" y="91"/>
                  </a:moveTo>
                  <a:cubicBezTo>
                    <a:pt x="1981897" y="-491"/>
                    <a:pt x="1995946" y="1738"/>
                    <a:pt x="2009124" y="6776"/>
                  </a:cubicBezTo>
                  <a:cubicBezTo>
                    <a:pt x="2033929" y="17628"/>
                    <a:pt x="2050982" y="35069"/>
                    <a:pt x="2060283" y="59099"/>
                  </a:cubicBezTo>
                  <a:cubicBezTo>
                    <a:pt x="2071911" y="87779"/>
                    <a:pt x="2069973" y="116847"/>
                    <a:pt x="2054470" y="146303"/>
                  </a:cubicBezTo>
                  <a:cubicBezTo>
                    <a:pt x="2037417" y="178859"/>
                    <a:pt x="2006798" y="204051"/>
                    <a:pt x="1962615" y="221880"/>
                  </a:cubicBezTo>
                  <a:lnTo>
                    <a:pt x="1921920" y="233507"/>
                  </a:lnTo>
                  <a:lnTo>
                    <a:pt x="1909130" y="203276"/>
                  </a:lnTo>
                  <a:cubicBezTo>
                    <a:pt x="1913781" y="202501"/>
                    <a:pt x="1921532" y="198044"/>
                    <a:pt x="1932384" y="189905"/>
                  </a:cubicBezTo>
                  <a:cubicBezTo>
                    <a:pt x="1943237" y="181766"/>
                    <a:pt x="1953701" y="171495"/>
                    <a:pt x="1963778" y="159093"/>
                  </a:cubicBezTo>
                  <a:cubicBezTo>
                    <a:pt x="1977730" y="141264"/>
                    <a:pt x="1980443" y="122273"/>
                    <a:pt x="1971917" y="102119"/>
                  </a:cubicBezTo>
                  <a:cubicBezTo>
                    <a:pt x="1964165" y="88167"/>
                    <a:pt x="1952732" y="80803"/>
                    <a:pt x="1937617" y="80028"/>
                  </a:cubicBezTo>
                  <a:cubicBezTo>
                    <a:pt x="1922501" y="79253"/>
                    <a:pt x="1909518" y="86229"/>
                    <a:pt x="1898666" y="100957"/>
                  </a:cubicBezTo>
                  <a:lnTo>
                    <a:pt x="1838204" y="64912"/>
                  </a:lnTo>
                  <a:cubicBezTo>
                    <a:pt x="1869985" y="37007"/>
                    <a:pt x="1897115" y="18791"/>
                    <a:pt x="1919594" y="10265"/>
                  </a:cubicBezTo>
                  <a:cubicBezTo>
                    <a:pt x="1936260" y="4063"/>
                    <a:pt x="1952053" y="672"/>
                    <a:pt x="1966975" y="91"/>
                  </a:cubicBezTo>
                  <a:close/>
                </a:path>
              </a:pathLst>
            </a:custGeom>
            <a:solidFill>
              <a:schemeClr val="bg1"/>
            </a:solidFill>
            <a:ln w="254000">
              <a:solidFill>
                <a:schemeClr val="accent6">
                  <a:lumMod val="75000"/>
                </a:schemeClr>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9400" b="0" i="0" u="none" strike="noStrike" kern="1200" cap="none" spc="300" normalizeH="0" baseline="0" noProof="0">
                <a:ln w="254000">
                  <a:solidFill>
                    <a:srgbClr val="ED5565">
                      <a:lumMod val="75000"/>
                    </a:srgbClr>
                  </a:solidFill>
                </a:ln>
                <a:solidFill>
                  <a:prstClr val="white"/>
                </a:solidFill>
                <a:effectLst/>
                <a:uLnTx/>
                <a:uFillTx/>
                <a:latin typeface="#9Slide07 Crocante" panose="02000000000000000000" pitchFamily="2" charset="0"/>
                <a:ea typeface="+mn-ea"/>
                <a:cs typeface="+mn-cs"/>
              </a:endParaRPr>
            </a:p>
          </p:txBody>
        </p:sp>
        <p:sp>
          <p:nvSpPr>
            <p:cNvPr id="10" name="TextBox 9">
              <a:extLst>
                <a:ext uri="{FF2B5EF4-FFF2-40B4-BE49-F238E27FC236}">
                  <a16:creationId xmlns:a16="http://schemas.microsoft.com/office/drawing/2014/main" id="{77FB755D-B4B6-2682-721B-A4E07A070937}"/>
                </a:ext>
              </a:extLst>
            </p:cNvPr>
            <p:cNvSpPr txBox="1">
              <a:spLocks noChangeAspect="1"/>
            </p:cNvSpPr>
            <p:nvPr/>
          </p:nvSpPr>
          <p:spPr>
            <a:xfrm>
              <a:off x="2245128" y="1721946"/>
              <a:ext cx="6302312" cy="1417156"/>
            </a:xfrm>
            <a:custGeom>
              <a:avLst/>
              <a:gdLst/>
              <a:ahLst/>
              <a:cxnLst/>
              <a:rect l="l" t="t" r="r" b="b"/>
              <a:pathLst>
                <a:path w="6302312" h="1417156">
                  <a:moveTo>
                    <a:pt x="4280362" y="1229958"/>
                  </a:moveTo>
                  <a:cubicBezTo>
                    <a:pt x="4339273" y="1229958"/>
                    <a:pt x="4368728" y="1262126"/>
                    <a:pt x="4368728" y="1326463"/>
                  </a:cubicBezTo>
                  <a:cubicBezTo>
                    <a:pt x="4368728" y="1386925"/>
                    <a:pt x="4338885" y="1417156"/>
                    <a:pt x="4279199" y="1417156"/>
                  </a:cubicBezTo>
                  <a:cubicBezTo>
                    <a:pt x="4252844" y="1417156"/>
                    <a:pt x="4230753" y="1409404"/>
                    <a:pt x="4212924" y="1393901"/>
                  </a:cubicBezTo>
                  <a:cubicBezTo>
                    <a:pt x="4194320" y="1377623"/>
                    <a:pt x="4185019" y="1354756"/>
                    <a:pt x="4185019" y="1325301"/>
                  </a:cubicBezTo>
                  <a:cubicBezTo>
                    <a:pt x="4185019" y="1261739"/>
                    <a:pt x="4216800" y="1229958"/>
                    <a:pt x="4280362" y="1229958"/>
                  </a:cubicBezTo>
                  <a:close/>
                  <a:moveTo>
                    <a:pt x="686004" y="1164845"/>
                  </a:moveTo>
                  <a:cubicBezTo>
                    <a:pt x="686004" y="1166008"/>
                    <a:pt x="685956" y="1166153"/>
                    <a:pt x="685859" y="1165281"/>
                  </a:cubicBezTo>
                  <a:lnTo>
                    <a:pt x="685849" y="1165156"/>
                  </a:lnTo>
                  <a:close/>
                  <a:moveTo>
                    <a:pt x="3443724" y="554418"/>
                  </a:moveTo>
                  <a:lnTo>
                    <a:pt x="3403029" y="556743"/>
                  </a:lnTo>
                  <a:lnTo>
                    <a:pt x="3403029" y="638133"/>
                  </a:lnTo>
                  <a:lnTo>
                    <a:pt x="3499535" y="635808"/>
                  </a:lnTo>
                  <a:lnTo>
                    <a:pt x="3487908" y="831145"/>
                  </a:lnTo>
                  <a:cubicBezTo>
                    <a:pt x="3468529" y="830370"/>
                    <a:pt x="3452251" y="829788"/>
                    <a:pt x="3439073" y="829401"/>
                  </a:cubicBezTo>
                  <a:cubicBezTo>
                    <a:pt x="3425896" y="829013"/>
                    <a:pt x="3415432" y="828819"/>
                    <a:pt x="3407680" y="828819"/>
                  </a:cubicBezTo>
                  <a:lnTo>
                    <a:pt x="3410005" y="889281"/>
                  </a:lnTo>
                  <a:lnTo>
                    <a:pt x="3434423" y="889281"/>
                  </a:lnTo>
                  <a:cubicBezTo>
                    <a:pt x="3460778" y="889281"/>
                    <a:pt x="3479381" y="886955"/>
                    <a:pt x="3490233" y="882304"/>
                  </a:cubicBezTo>
                  <a:cubicBezTo>
                    <a:pt x="3500310" y="878429"/>
                    <a:pt x="3512713" y="866802"/>
                    <a:pt x="3527440" y="847423"/>
                  </a:cubicBezTo>
                  <a:cubicBezTo>
                    <a:pt x="3548369" y="818743"/>
                    <a:pt x="3558834" y="775334"/>
                    <a:pt x="3558834" y="717198"/>
                  </a:cubicBezTo>
                  <a:cubicBezTo>
                    <a:pt x="3558834" y="651311"/>
                    <a:pt x="3546819" y="605190"/>
                    <a:pt x="3522789" y="578835"/>
                  </a:cubicBezTo>
                  <a:cubicBezTo>
                    <a:pt x="3507286" y="562557"/>
                    <a:pt x="3480931" y="554418"/>
                    <a:pt x="3443724" y="554418"/>
                  </a:cubicBezTo>
                  <a:close/>
                  <a:moveTo>
                    <a:pt x="4287338" y="531163"/>
                  </a:moveTo>
                  <a:cubicBezTo>
                    <a:pt x="4265634" y="531163"/>
                    <a:pt x="4241217" y="541240"/>
                    <a:pt x="4214087" y="561394"/>
                  </a:cubicBezTo>
                  <a:cubicBezTo>
                    <a:pt x="4184631" y="586199"/>
                    <a:pt x="4169903" y="638909"/>
                    <a:pt x="4169903" y="719524"/>
                  </a:cubicBezTo>
                  <a:cubicBezTo>
                    <a:pt x="4169903" y="778435"/>
                    <a:pt x="4176880" y="823393"/>
                    <a:pt x="4190832" y="854399"/>
                  </a:cubicBezTo>
                  <a:cubicBezTo>
                    <a:pt x="4207886" y="897807"/>
                    <a:pt x="4239279" y="918736"/>
                    <a:pt x="4285013" y="917186"/>
                  </a:cubicBezTo>
                  <a:cubicBezTo>
                    <a:pt x="4330746" y="917186"/>
                    <a:pt x="4360589" y="896645"/>
                    <a:pt x="4374542" y="855562"/>
                  </a:cubicBezTo>
                  <a:cubicBezTo>
                    <a:pt x="4388495" y="812929"/>
                    <a:pt x="4395471" y="769521"/>
                    <a:pt x="4395471" y="725337"/>
                  </a:cubicBezTo>
                  <a:cubicBezTo>
                    <a:pt x="4395471" y="671077"/>
                    <a:pt x="4385782" y="624956"/>
                    <a:pt x="4366403" y="586974"/>
                  </a:cubicBezTo>
                  <a:cubicBezTo>
                    <a:pt x="4346249" y="549767"/>
                    <a:pt x="4319894" y="531163"/>
                    <a:pt x="4287338" y="531163"/>
                  </a:cubicBezTo>
                  <a:close/>
                  <a:moveTo>
                    <a:pt x="1887038" y="531163"/>
                  </a:moveTo>
                  <a:cubicBezTo>
                    <a:pt x="1865334" y="531163"/>
                    <a:pt x="1840917" y="541240"/>
                    <a:pt x="1813787" y="561394"/>
                  </a:cubicBezTo>
                  <a:cubicBezTo>
                    <a:pt x="1784331" y="586199"/>
                    <a:pt x="1769603" y="638909"/>
                    <a:pt x="1769603" y="719524"/>
                  </a:cubicBezTo>
                  <a:cubicBezTo>
                    <a:pt x="1769603" y="778435"/>
                    <a:pt x="1776580" y="823393"/>
                    <a:pt x="1790533" y="854399"/>
                  </a:cubicBezTo>
                  <a:cubicBezTo>
                    <a:pt x="1807586" y="897807"/>
                    <a:pt x="1838979" y="918736"/>
                    <a:pt x="1884713" y="917186"/>
                  </a:cubicBezTo>
                  <a:cubicBezTo>
                    <a:pt x="1930446" y="917186"/>
                    <a:pt x="1960290" y="896645"/>
                    <a:pt x="1974242" y="855562"/>
                  </a:cubicBezTo>
                  <a:cubicBezTo>
                    <a:pt x="1988195" y="812929"/>
                    <a:pt x="1995171" y="769521"/>
                    <a:pt x="1995171" y="725337"/>
                  </a:cubicBezTo>
                  <a:cubicBezTo>
                    <a:pt x="1995171" y="671077"/>
                    <a:pt x="1985482" y="624956"/>
                    <a:pt x="1966103" y="586974"/>
                  </a:cubicBezTo>
                  <a:cubicBezTo>
                    <a:pt x="1945949" y="549767"/>
                    <a:pt x="1919594" y="531163"/>
                    <a:pt x="1887038" y="531163"/>
                  </a:cubicBezTo>
                  <a:close/>
                  <a:moveTo>
                    <a:pt x="2619430" y="330013"/>
                  </a:moveTo>
                  <a:lnTo>
                    <a:pt x="2619430" y="576509"/>
                  </a:lnTo>
                  <a:cubicBezTo>
                    <a:pt x="2619430" y="667976"/>
                    <a:pt x="2620206" y="750917"/>
                    <a:pt x="2621756" y="825331"/>
                  </a:cubicBezTo>
                  <a:cubicBezTo>
                    <a:pt x="2623306" y="899745"/>
                    <a:pt x="2625632" y="966408"/>
                    <a:pt x="2628732" y="1025319"/>
                  </a:cubicBezTo>
                  <a:lnTo>
                    <a:pt x="2631058" y="1110198"/>
                  </a:lnTo>
                  <a:cubicBezTo>
                    <a:pt x="2631058" y="1133452"/>
                    <a:pt x="2628732" y="1147792"/>
                    <a:pt x="2624081" y="1153218"/>
                  </a:cubicBezTo>
                  <a:lnTo>
                    <a:pt x="2333402" y="1141591"/>
                  </a:lnTo>
                  <a:lnTo>
                    <a:pt x="2335727" y="596275"/>
                  </a:lnTo>
                  <a:cubicBezTo>
                    <a:pt x="2336502" y="559068"/>
                    <a:pt x="2336890" y="519148"/>
                    <a:pt x="2336890" y="476515"/>
                  </a:cubicBezTo>
                  <a:cubicBezTo>
                    <a:pt x="2336890" y="433882"/>
                    <a:pt x="2336890" y="387761"/>
                    <a:pt x="2336890" y="338152"/>
                  </a:cubicBezTo>
                  <a:lnTo>
                    <a:pt x="2404327" y="338152"/>
                  </a:lnTo>
                  <a:cubicBezTo>
                    <a:pt x="2426807" y="338152"/>
                    <a:pt x="2449867" y="337764"/>
                    <a:pt x="2473509" y="336989"/>
                  </a:cubicBezTo>
                  <a:cubicBezTo>
                    <a:pt x="2497151" y="336214"/>
                    <a:pt x="2521374" y="335051"/>
                    <a:pt x="2546179" y="333501"/>
                  </a:cubicBezTo>
                  <a:close/>
                  <a:moveTo>
                    <a:pt x="3461165" y="311409"/>
                  </a:moveTo>
                  <a:cubicBezTo>
                    <a:pt x="3576662" y="311409"/>
                    <a:pt x="3664254" y="335051"/>
                    <a:pt x="3723940" y="382335"/>
                  </a:cubicBezTo>
                  <a:cubicBezTo>
                    <a:pt x="3791378" y="435820"/>
                    <a:pt x="3825096" y="542403"/>
                    <a:pt x="3825096" y="702083"/>
                  </a:cubicBezTo>
                  <a:cubicBezTo>
                    <a:pt x="3825096" y="854787"/>
                    <a:pt x="3797191" y="965245"/>
                    <a:pt x="3741381" y="1033458"/>
                  </a:cubicBezTo>
                  <a:cubicBezTo>
                    <a:pt x="3681694" y="1107872"/>
                    <a:pt x="3566585" y="1145079"/>
                    <a:pt x="3396053" y="1145079"/>
                  </a:cubicBezTo>
                  <a:lnTo>
                    <a:pt x="3335591" y="1145079"/>
                  </a:lnTo>
                  <a:cubicBezTo>
                    <a:pt x="3241024" y="1145079"/>
                    <a:pt x="3164284" y="1143916"/>
                    <a:pt x="3105373" y="1141591"/>
                  </a:cubicBezTo>
                  <a:lnTo>
                    <a:pt x="3120488" y="856725"/>
                  </a:lnTo>
                  <a:lnTo>
                    <a:pt x="3120488" y="831145"/>
                  </a:lnTo>
                  <a:lnTo>
                    <a:pt x="3100722" y="831145"/>
                  </a:lnTo>
                  <a:cubicBezTo>
                    <a:pt x="3099947" y="824944"/>
                    <a:pt x="3099559" y="816223"/>
                    <a:pt x="3099559" y="804984"/>
                  </a:cubicBezTo>
                  <a:cubicBezTo>
                    <a:pt x="3099559" y="793744"/>
                    <a:pt x="3099559" y="779598"/>
                    <a:pt x="3099559" y="762544"/>
                  </a:cubicBezTo>
                  <a:lnTo>
                    <a:pt x="3099559" y="700920"/>
                  </a:lnTo>
                  <a:cubicBezTo>
                    <a:pt x="3099559" y="686192"/>
                    <a:pt x="3099559" y="673790"/>
                    <a:pt x="3099559" y="663713"/>
                  </a:cubicBezTo>
                  <a:cubicBezTo>
                    <a:pt x="3099559" y="653636"/>
                    <a:pt x="3099172" y="645885"/>
                    <a:pt x="3098397" y="640459"/>
                  </a:cubicBezTo>
                  <a:lnTo>
                    <a:pt x="3125139" y="640459"/>
                  </a:lnTo>
                  <a:lnTo>
                    <a:pt x="3121651" y="320711"/>
                  </a:lnTo>
                  <a:lnTo>
                    <a:pt x="3190251" y="319548"/>
                  </a:lnTo>
                  <a:cubicBezTo>
                    <a:pt x="3203429" y="319548"/>
                    <a:pt x="3250713" y="318385"/>
                    <a:pt x="3332103" y="316060"/>
                  </a:cubicBezTo>
                  <a:cubicBezTo>
                    <a:pt x="3349932" y="314510"/>
                    <a:pt x="3369698" y="313347"/>
                    <a:pt x="3391402" y="312572"/>
                  </a:cubicBezTo>
                  <a:cubicBezTo>
                    <a:pt x="3413106" y="311797"/>
                    <a:pt x="3436361" y="311409"/>
                    <a:pt x="3461165" y="311409"/>
                  </a:cubicBezTo>
                  <a:close/>
                  <a:moveTo>
                    <a:pt x="4740678" y="286992"/>
                  </a:moveTo>
                  <a:cubicBezTo>
                    <a:pt x="4746879" y="286992"/>
                    <a:pt x="4761607" y="287961"/>
                    <a:pt x="4784861" y="289899"/>
                  </a:cubicBezTo>
                  <a:cubicBezTo>
                    <a:pt x="4808116" y="291837"/>
                    <a:pt x="4839897" y="294743"/>
                    <a:pt x="4880204" y="298619"/>
                  </a:cubicBezTo>
                  <a:cubicBezTo>
                    <a:pt x="4924388" y="302495"/>
                    <a:pt x="4960432" y="305595"/>
                    <a:pt x="4988337" y="307921"/>
                  </a:cubicBezTo>
                  <a:cubicBezTo>
                    <a:pt x="5016242" y="310246"/>
                    <a:pt x="5036784" y="311409"/>
                    <a:pt x="5049961" y="311409"/>
                  </a:cubicBezTo>
                  <a:cubicBezTo>
                    <a:pt x="5098795" y="311409"/>
                    <a:pt x="5124375" y="312959"/>
                    <a:pt x="5126701" y="316060"/>
                  </a:cubicBezTo>
                  <a:cubicBezTo>
                    <a:pt x="5131352" y="323811"/>
                    <a:pt x="5150343" y="396675"/>
                    <a:pt x="5183674" y="534651"/>
                  </a:cubicBezTo>
                  <a:cubicBezTo>
                    <a:pt x="5196852" y="590462"/>
                    <a:pt x="5210029" y="647241"/>
                    <a:pt x="5223207" y="704990"/>
                  </a:cubicBezTo>
                  <a:cubicBezTo>
                    <a:pt x="5236384" y="762738"/>
                    <a:pt x="5249561" y="821843"/>
                    <a:pt x="5262739" y="882304"/>
                  </a:cubicBezTo>
                  <a:lnTo>
                    <a:pt x="5262739" y="848586"/>
                  </a:lnTo>
                  <a:cubicBezTo>
                    <a:pt x="5262739" y="723012"/>
                    <a:pt x="5260414" y="632320"/>
                    <a:pt x="5255763" y="576509"/>
                  </a:cubicBezTo>
                  <a:lnTo>
                    <a:pt x="5237159" y="324199"/>
                  </a:lnTo>
                  <a:cubicBezTo>
                    <a:pt x="5406141" y="324199"/>
                    <a:pt x="5492957" y="326524"/>
                    <a:pt x="5497608" y="331175"/>
                  </a:cubicBezTo>
                  <a:cubicBezTo>
                    <a:pt x="5499159" y="332726"/>
                    <a:pt x="5499934" y="359856"/>
                    <a:pt x="5499934" y="412566"/>
                  </a:cubicBezTo>
                  <a:cubicBezTo>
                    <a:pt x="5499934" y="444347"/>
                    <a:pt x="5499934" y="476321"/>
                    <a:pt x="5499934" y="508490"/>
                  </a:cubicBezTo>
                  <a:cubicBezTo>
                    <a:pt x="5499934" y="540659"/>
                    <a:pt x="5499546" y="574184"/>
                    <a:pt x="5498771" y="609065"/>
                  </a:cubicBezTo>
                  <a:cubicBezTo>
                    <a:pt x="5497996" y="643947"/>
                    <a:pt x="5497608" y="681348"/>
                    <a:pt x="5497608" y="721268"/>
                  </a:cubicBezTo>
                  <a:cubicBezTo>
                    <a:pt x="5497608" y="761188"/>
                    <a:pt x="5497608" y="804402"/>
                    <a:pt x="5497608" y="850911"/>
                  </a:cubicBezTo>
                  <a:cubicBezTo>
                    <a:pt x="5497608" y="919124"/>
                    <a:pt x="5498190" y="977648"/>
                    <a:pt x="5499352" y="1026482"/>
                  </a:cubicBezTo>
                  <a:cubicBezTo>
                    <a:pt x="5500515" y="1075316"/>
                    <a:pt x="5501871" y="1114848"/>
                    <a:pt x="5503422" y="1145079"/>
                  </a:cubicBezTo>
                  <a:lnTo>
                    <a:pt x="5444123" y="1149730"/>
                  </a:lnTo>
                  <a:lnTo>
                    <a:pt x="5253437" y="1145079"/>
                  </a:lnTo>
                  <a:lnTo>
                    <a:pt x="5129026" y="1135777"/>
                  </a:lnTo>
                  <a:cubicBezTo>
                    <a:pt x="5125150" y="1128801"/>
                    <a:pt x="5122825" y="1119499"/>
                    <a:pt x="5122050" y="1107872"/>
                  </a:cubicBezTo>
                  <a:lnTo>
                    <a:pt x="4987174" y="588136"/>
                  </a:lnTo>
                  <a:cubicBezTo>
                    <a:pt x="4987174" y="620693"/>
                    <a:pt x="4987174" y="656156"/>
                    <a:pt x="4987174" y="694525"/>
                  </a:cubicBezTo>
                  <a:cubicBezTo>
                    <a:pt x="4987174" y="732895"/>
                    <a:pt x="4986787" y="774947"/>
                    <a:pt x="4986012" y="820680"/>
                  </a:cubicBezTo>
                  <a:lnTo>
                    <a:pt x="4983686" y="1163683"/>
                  </a:lnTo>
                  <a:lnTo>
                    <a:pt x="4889506" y="1160195"/>
                  </a:lnTo>
                  <a:cubicBezTo>
                    <a:pt x="4864701" y="1158644"/>
                    <a:pt x="4842609" y="1157482"/>
                    <a:pt x="4823231" y="1156706"/>
                  </a:cubicBezTo>
                  <a:cubicBezTo>
                    <a:pt x="4803852" y="1155931"/>
                    <a:pt x="4787574" y="1155544"/>
                    <a:pt x="4774397" y="1155544"/>
                  </a:cubicBezTo>
                  <a:lnTo>
                    <a:pt x="4743003" y="1155544"/>
                  </a:lnTo>
                  <a:cubicBezTo>
                    <a:pt x="4730601" y="1155544"/>
                    <a:pt x="4724400" y="1154381"/>
                    <a:pt x="4724400" y="1152056"/>
                  </a:cubicBezTo>
                  <a:lnTo>
                    <a:pt x="4724400" y="1150893"/>
                  </a:lnTo>
                  <a:cubicBezTo>
                    <a:pt x="4724400" y="581935"/>
                    <a:pt x="4727501" y="294356"/>
                    <a:pt x="4733702" y="288155"/>
                  </a:cubicBezTo>
                  <a:cubicBezTo>
                    <a:pt x="4734477" y="287379"/>
                    <a:pt x="4736802" y="286992"/>
                    <a:pt x="4740678" y="286992"/>
                  </a:cubicBezTo>
                  <a:close/>
                  <a:moveTo>
                    <a:pt x="749926" y="281178"/>
                  </a:moveTo>
                  <a:cubicBezTo>
                    <a:pt x="763104" y="281178"/>
                    <a:pt x="784033" y="281953"/>
                    <a:pt x="812713" y="283504"/>
                  </a:cubicBezTo>
                  <a:cubicBezTo>
                    <a:pt x="841393" y="285054"/>
                    <a:pt x="878213" y="287379"/>
                    <a:pt x="923172" y="290480"/>
                  </a:cubicBezTo>
                  <a:lnTo>
                    <a:pt x="1006887" y="297456"/>
                  </a:lnTo>
                  <a:lnTo>
                    <a:pt x="1004562" y="617204"/>
                  </a:lnTo>
                  <a:lnTo>
                    <a:pt x="1079575" y="612554"/>
                  </a:lnTo>
                  <a:cubicBezTo>
                    <a:pt x="1083488" y="611778"/>
                    <a:pt x="1088959" y="611000"/>
                    <a:pt x="1095990" y="610219"/>
                  </a:cubicBezTo>
                  <a:cubicBezTo>
                    <a:pt x="1103021" y="609438"/>
                    <a:pt x="1110836" y="608272"/>
                    <a:pt x="1119435" y="606722"/>
                  </a:cubicBezTo>
                  <a:lnTo>
                    <a:pt x="1148739" y="602053"/>
                  </a:lnTo>
                  <a:lnTo>
                    <a:pt x="1148739" y="318385"/>
                  </a:lnTo>
                  <a:lnTo>
                    <a:pt x="1165017" y="318385"/>
                  </a:lnTo>
                  <a:cubicBezTo>
                    <a:pt x="1193698" y="318385"/>
                    <a:pt x="1235556" y="314897"/>
                    <a:pt x="1290591" y="307921"/>
                  </a:cubicBezTo>
                  <a:cubicBezTo>
                    <a:pt x="1344076" y="302495"/>
                    <a:pt x="1384384" y="299007"/>
                    <a:pt x="1411514" y="297456"/>
                  </a:cubicBezTo>
                  <a:lnTo>
                    <a:pt x="1408026" y="604414"/>
                  </a:lnTo>
                  <a:cubicBezTo>
                    <a:pt x="1408026" y="680379"/>
                    <a:pt x="1408026" y="739096"/>
                    <a:pt x="1408026" y="780567"/>
                  </a:cubicBezTo>
                  <a:cubicBezTo>
                    <a:pt x="1408026" y="822037"/>
                    <a:pt x="1408413" y="846648"/>
                    <a:pt x="1409188" y="854399"/>
                  </a:cubicBezTo>
                  <a:lnTo>
                    <a:pt x="1419653" y="1160195"/>
                  </a:lnTo>
                  <a:lnTo>
                    <a:pt x="1142962" y="1163683"/>
                  </a:lnTo>
                  <a:cubicBezTo>
                    <a:pt x="1138287" y="1159032"/>
                    <a:pt x="1135949" y="1145467"/>
                    <a:pt x="1135949" y="1122988"/>
                  </a:cubicBezTo>
                  <a:lnTo>
                    <a:pt x="1146414" y="799751"/>
                  </a:lnTo>
                  <a:lnTo>
                    <a:pt x="1006887" y="806728"/>
                  </a:lnTo>
                  <a:lnTo>
                    <a:pt x="1022003" y="1141591"/>
                  </a:lnTo>
                  <a:lnTo>
                    <a:pt x="745275" y="1145079"/>
                  </a:lnTo>
                  <a:cubicBezTo>
                    <a:pt x="740624" y="1140428"/>
                    <a:pt x="738299" y="1126088"/>
                    <a:pt x="738299" y="1102059"/>
                  </a:cubicBezTo>
                  <a:lnTo>
                    <a:pt x="747601" y="831145"/>
                  </a:lnTo>
                  <a:cubicBezTo>
                    <a:pt x="748376" y="777660"/>
                    <a:pt x="748957" y="729213"/>
                    <a:pt x="749345" y="685805"/>
                  </a:cubicBezTo>
                  <a:cubicBezTo>
                    <a:pt x="749732" y="642397"/>
                    <a:pt x="749926" y="603252"/>
                    <a:pt x="749926" y="568370"/>
                  </a:cubicBezTo>
                  <a:close/>
                  <a:moveTo>
                    <a:pt x="642984" y="280016"/>
                  </a:moveTo>
                  <a:lnTo>
                    <a:pt x="660425" y="281178"/>
                  </a:lnTo>
                  <a:cubicBezTo>
                    <a:pt x="659650" y="285054"/>
                    <a:pt x="659262" y="290868"/>
                    <a:pt x="659262" y="298619"/>
                  </a:cubicBezTo>
                  <a:cubicBezTo>
                    <a:pt x="659262" y="306371"/>
                    <a:pt x="659262" y="316447"/>
                    <a:pt x="659262" y="328850"/>
                  </a:cubicBezTo>
                  <a:lnTo>
                    <a:pt x="663913" y="516048"/>
                  </a:lnTo>
                  <a:cubicBezTo>
                    <a:pt x="663913" y="586586"/>
                    <a:pt x="644922" y="634645"/>
                    <a:pt x="606940" y="660225"/>
                  </a:cubicBezTo>
                  <a:cubicBezTo>
                    <a:pt x="601513" y="664101"/>
                    <a:pt x="595506" y="667395"/>
                    <a:pt x="588918" y="670108"/>
                  </a:cubicBezTo>
                  <a:cubicBezTo>
                    <a:pt x="582329" y="672821"/>
                    <a:pt x="575159" y="674953"/>
                    <a:pt x="567407" y="676503"/>
                  </a:cubicBezTo>
                  <a:cubicBezTo>
                    <a:pt x="555780" y="678829"/>
                    <a:pt x="549966" y="680379"/>
                    <a:pt x="549966" y="681154"/>
                  </a:cubicBezTo>
                  <a:cubicBezTo>
                    <a:pt x="579931" y="691231"/>
                    <a:pt x="608357" y="715648"/>
                    <a:pt x="635245" y="754405"/>
                  </a:cubicBezTo>
                  <a:cubicBezTo>
                    <a:pt x="665984" y="797814"/>
                    <a:pt x="681354" y="875328"/>
                    <a:pt x="681354" y="986949"/>
                  </a:cubicBezTo>
                  <a:lnTo>
                    <a:pt x="680191" y="1047411"/>
                  </a:lnTo>
                  <a:cubicBezTo>
                    <a:pt x="680191" y="1076866"/>
                    <a:pt x="681354" y="1104772"/>
                    <a:pt x="683679" y="1131127"/>
                  </a:cubicBezTo>
                  <a:cubicBezTo>
                    <a:pt x="684454" y="1144304"/>
                    <a:pt x="685036" y="1153800"/>
                    <a:pt x="685423" y="1159613"/>
                  </a:cubicBezTo>
                  <a:lnTo>
                    <a:pt x="685849" y="1165156"/>
                  </a:lnTo>
                  <a:lnTo>
                    <a:pt x="684842" y="1167171"/>
                  </a:lnTo>
                  <a:cubicBezTo>
                    <a:pt x="684067" y="1170271"/>
                    <a:pt x="665160" y="1171822"/>
                    <a:pt x="628123" y="1171822"/>
                  </a:cubicBezTo>
                  <a:cubicBezTo>
                    <a:pt x="606516" y="1171822"/>
                    <a:pt x="589151" y="1171822"/>
                    <a:pt x="576027" y="1171822"/>
                  </a:cubicBezTo>
                  <a:cubicBezTo>
                    <a:pt x="562905" y="1171822"/>
                    <a:pt x="553261" y="1172209"/>
                    <a:pt x="547096" y="1172984"/>
                  </a:cubicBezTo>
                  <a:cubicBezTo>
                    <a:pt x="534742" y="1172984"/>
                    <a:pt x="523935" y="1172984"/>
                    <a:pt x="514676" y="1172984"/>
                  </a:cubicBezTo>
                  <a:cubicBezTo>
                    <a:pt x="505417" y="1172984"/>
                    <a:pt x="497699" y="1173372"/>
                    <a:pt x="491522" y="1174147"/>
                  </a:cubicBezTo>
                  <a:cubicBezTo>
                    <a:pt x="487670" y="1174922"/>
                    <a:pt x="483234" y="1175310"/>
                    <a:pt x="478214" y="1175310"/>
                  </a:cubicBezTo>
                  <a:cubicBezTo>
                    <a:pt x="473193" y="1175310"/>
                    <a:pt x="466826" y="1175310"/>
                    <a:pt x="459111" y="1175310"/>
                  </a:cubicBezTo>
                  <a:lnTo>
                    <a:pt x="419742" y="1176473"/>
                  </a:lnTo>
                  <a:lnTo>
                    <a:pt x="423230" y="1048573"/>
                  </a:lnTo>
                  <a:cubicBezTo>
                    <a:pt x="423230" y="1003615"/>
                    <a:pt x="419742" y="959432"/>
                    <a:pt x="412766" y="916023"/>
                  </a:cubicBezTo>
                  <a:cubicBezTo>
                    <a:pt x="405789" y="874165"/>
                    <a:pt x="396487" y="846260"/>
                    <a:pt x="384860" y="832308"/>
                  </a:cubicBezTo>
                  <a:cubicBezTo>
                    <a:pt x="367807" y="810603"/>
                    <a:pt x="344940" y="799751"/>
                    <a:pt x="316260" y="799751"/>
                  </a:cubicBezTo>
                  <a:lnTo>
                    <a:pt x="297656" y="802077"/>
                  </a:lnTo>
                  <a:cubicBezTo>
                    <a:pt x="288354" y="805953"/>
                    <a:pt x="283704" y="821843"/>
                    <a:pt x="283704" y="849748"/>
                  </a:cubicBezTo>
                  <a:cubicBezTo>
                    <a:pt x="283704" y="891606"/>
                    <a:pt x="284866" y="940828"/>
                    <a:pt x="287192" y="997414"/>
                  </a:cubicBezTo>
                  <a:lnTo>
                    <a:pt x="293005" y="1145079"/>
                  </a:lnTo>
                  <a:lnTo>
                    <a:pt x="0" y="1156706"/>
                  </a:lnTo>
                  <a:lnTo>
                    <a:pt x="3488" y="293968"/>
                  </a:lnTo>
                  <a:cubicBezTo>
                    <a:pt x="3488" y="290093"/>
                    <a:pt x="59299" y="288155"/>
                    <a:pt x="170920" y="288155"/>
                  </a:cubicBezTo>
                  <a:lnTo>
                    <a:pt x="260449" y="290480"/>
                  </a:lnTo>
                  <a:lnTo>
                    <a:pt x="277890" y="605577"/>
                  </a:lnTo>
                  <a:cubicBezTo>
                    <a:pt x="283316" y="607903"/>
                    <a:pt x="289129" y="609065"/>
                    <a:pt x="295331" y="609065"/>
                  </a:cubicBezTo>
                  <a:cubicBezTo>
                    <a:pt x="365094" y="609065"/>
                    <a:pt x="399976" y="562944"/>
                    <a:pt x="399976" y="470702"/>
                  </a:cubicBezTo>
                  <a:lnTo>
                    <a:pt x="397650" y="288155"/>
                  </a:lnTo>
                  <a:lnTo>
                    <a:pt x="426718" y="288155"/>
                  </a:lnTo>
                  <a:cubicBezTo>
                    <a:pt x="440671" y="288155"/>
                    <a:pt x="456949" y="287767"/>
                    <a:pt x="475552" y="286992"/>
                  </a:cubicBezTo>
                  <a:cubicBezTo>
                    <a:pt x="494156" y="286217"/>
                    <a:pt x="515085" y="285054"/>
                    <a:pt x="538339" y="283504"/>
                  </a:cubicBezTo>
                  <a:cubicBezTo>
                    <a:pt x="590274" y="281178"/>
                    <a:pt x="625156" y="280016"/>
                    <a:pt x="642984" y="280016"/>
                  </a:cubicBezTo>
                  <a:close/>
                  <a:moveTo>
                    <a:pt x="4316406" y="270714"/>
                  </a:moveTo>
                  <a:cubicBezTo>
                    <a:pt x="4358264" y="270714"/>
                    <a:pt x="4398959" y="276527"/>
                    <a:pt x="4438492" y="288155"/>
                  </a:cubicBezTo>
                  <a:cubicBezTo>
                    <a:pt x="4511355" y="312184"/>
                    <a:pt x="4568329" y="362569"/>
                    <a:pt x="4609411" y="439308"/>
                  </a:cubicBezTo>
                  <a:cubicBezTo>
                    <a:pt x="4650494" y="517598"/>
                    <a:pt x="4671036" y="604414"/>
                    <a:pt x="4671036" y="699758"/>
                  </a:cubicBezTo>
                  <a:cubicBezTo>
                    <a:pt x="4671036" y="829207"/>
                    <a:pt x="4637317" y="938503"/>
                    <a:pt x="4569879" y="1027644"/>
                  </a:cubicBezTo>
                  <a:cubicBezTo>
                    <a:pt x="4491589" y="1129964"/>
                    <a:pt x="4385782" y="1181123"/>
                    <a:pt x="4252456" y="1181123"/>
                  </a:cubicBezTo>
                  <a:cubicBezTo>
                    <a:pt x="4136960" y="1181123"/>
                    <a:pt x="4046268" y="1147405"/>
                    <a:pt x="3980380" y="1079967"/>
                  </a:cubicBezTo>
                  <a:cubicBezTo>
                    <a:pt x="3913717" y="1011754"/>
                    <a:pt x="3878836" y="916411"/>
                    <a:pt x="3875735" y="793938"/>
                  </a:cubicBezTo>
                  <a:cubicBezTo>
                    <a:pt x="3874960" y="790062"/>
                    <a:pt x="3874572" y="778435"/>
                    <a:pt x="3874572" y="759056"/>
                  </a:cubicBezTo>
                  <a:cubicBezTo>
                    <a:pt x="3874572" y="609453"/>
                    <a:pt x="3909454" y="494344"/>
                    <a:pt x="3979217" y="413728"/>
                  </a:cubicBezTo>
                  <a:cubicBezTo>
                    <a:pt x="4009448" y="378072"/>
                    <a:pt x="4044717" y="349391"/>
                    <a:pt x="4085025" y="327687"/>
                  </a:cubicBezTo>
                  <a:cubicBezTo>
                    <a:pt x="4153238" y="289705"/>
                    <a:pt x="4230365" y="270714"/>
                    <a:pt x="4316406" y="270714"/>
                  </a:cubicBezTo>
                  <a:close/>
                  <a:moveTo>
                    <a:pt x="5986053" y="261412"/>
                  </a:moveTo>
                  <a:lnTo>
                    <a:pt x="5988378" y="261412"/>
                  </a:lnTo>
                  <a:cubicBezTo>
                    <a:pt x="5996905" y="261412"/>
                    <a:pt x="6007951" y="262187"/>
                    <a:pt x="6021516" y="263738"/>
                  </a:cubicBezTo>
                  <a:cubicBezTo>
                    <a:pt x="6035081" y="265288"/>
                    <a:pt x="6050778" y="267613"/>
                    <a:pt x="6068606" y="270714"/>
                  </a:cubicBezTo>
                  <a:cubicBezTo>
                    <a:pt x="6078683" y="272264"/>
                    <a:pt x="6089341" y="274783"/>
                    <a:pt x="6100581" y="278272"/>
                  </a:cubicBezTo>
                  <a:cubicBezTo>
                    <a:pt x="6111821" y="281760"/>
                    <a:pt x="6123642" y="286604"/>
                    <a:pt x="6136044" y="292806"/>
                  </a:cubicBezTo>
                  <a:cubicBezTo>
                    <a:pt x="6229061" y="337764"/>
                    <a:pt x="6281772" y="410240"/>
                    <a:pt x="6294174" y="510234"/>
                  </a:cubicBezTo>
                  <a:cubicBezTo>
                    <a:pt x="6297274" y="528838"/>
                    <a:pt x="6299406" y="544728"/>
                    <a:pt x="6300568" y="557906"/>
                  </a:cubicBezTo>
                  <a:cubicBezTo>
                    <a:pt x="6301731" y="571083"/>
                    <a:pt x="6302312" y="581935"/>
                    <a:pt x="6302312" y="590462"/>
                  </a:cubicBezTo>
                  <a:lnTo>
                    <a:pt x="6203482" y="599764"/>
                  </a:lnTo>
                  <a:lnTo>
                    <a:pt x="6050003" y="611391"/>
                  </a:lnTo>
                  <a:lnTo>
                    <a:pt x="6050003" y="592787"/>
                  </a:lnTo>
                  <a:cubicBezTo>
                    <a:pt x="6050003" y="573409"/>
                    <a:pt x="6041864" y="557131"/>
                    <a:pt x="6025585" y="543953"/>
                  </a:cubicBezTo>
                  <a:cubicBezTo>
                    <a:pt x="6008532" y="530776"/>
                    <a:pt x="5989154" y="524187"/>
                    <a:pt x="5967449" y="524187"/>
                  </a:cubicBezTo>
                  <a:cubicBezTo>
                    <a:pt x="5922491" y="524187"/>
                    <a:pt x="5886447" y="549379"/>
                    <a:pt x="5859317" y="599764"/>
                  </a:cubicBezTo>
                  <a:cubicBezTo>
                    <a:pt x="5835287" y="647823"/>
                    <a:pt x="5823272" y="701308"/>
                    <a:pt x="5823272" y="760219"/>
                  </a:cubicBezTo>
                  <a:cubicBezTo>
                    <a:pt x="5823272" y="840059"/>
                    <a:pt x="5842263" y="891606"/>
                    <a:pt x="5880245" y="914861"/>
                  </a:cubicBezTo>
                  <a:cubicBezTo>
                    <a:pt x="5897299" y="924938"/>
                    <a:pt x="5915515" y="929976"/>
                    <a:pt x="5934893" y="929976"/>
                  </a:cubicBezTo>
                  <a:cubicBezTo>
                    <a:pt x="5958148" y="929976"/>
                    <a:pt x="5978689" y="923000"/>
                    <a:pt x="5996517" y="909047"/>
                  </a:cubicBezTo>
                  <a:cubicBezTo>
                    <a:pt x="6013571" y="894319"/>
                    <a:pt x="6022097" y="876491"/>
                    <a:pt x="6022097" y="855562"/>
                  </a:cubicBezTo>
                  <a:lnTo>
                    <a:pt x="5939544" y="852074"/>
                  </a:lnTo>
                  <a:lnTo>
                    <a:pt x="5939544" y="790450"/>
                  </a:lnTo>
                  <a:cubicBezTo>
                    <a:pt x="5939544" y="749367"/>
                    <a:pt x="5942257" y="727275"/>
                    <a:pt x="5947683" y="724175"/>
                  </a:cubicBezTo>
                  <a:cubicBezTo>
                    <a:pt x="5952334" y="721074"/>
                    <a:pt x="6008920" y="718749"/>
                    <a:pt x="6117440" y="717198"/>
                  </a:cubicBezTo>
                  <a:lnTo>
                    <a:pt x="6281384" y="716036"/>
                  </a:lnTo>
                  <a:lnTo>
                    <a:pt x="6284872" y="748592"/>
                  </a:lnTo>
                  <a:lnTo>
                    <a:pt x="6284872" y="764870"/>
                  </a:lnTo>
                  <a:cubicBezTo>
                    <a:pt x="6284872" y="792775"/>
                    <a:pt x="6281384" y="826882"/>
                    <a:pt x="6274407" y="867189"/>
                  </a:cubicBezTo>
                  <a:cubicBezTo>
                    <a:pt x="6267431" y="909047"/>
                    <a:pt x="6259292" y="943541"/>
                    <a:pt x="6249990" y="970671"/>
                  </a:cubicBezTo>
                  <a:cubicBezTo>
                    <a:pt x="6228286" y="1032683"/>
                    <a:pt x="6187591" y="1080742"/>
                    <a:pt x="6127905" y="1114848"/>
                  </a:cubicBezTo>
                  <a:cubicBezTo>
                    <a:pt x="6068219" y="1149730"/>
                    <a:pt x="6001944" y="1167171"/>
                    <a:pt x="5929080" y="1167171"/>
                  </a:cubicBezTo>
                  <a:cubicBezTo>
                    <a:pt x="5840713" y="1167171"/>
                    <a:pt x="5762424" y="1141591"/>
                    <a:pt x="5694210" y="1090431"/>
                  </a:cubicBezTo>
                  <a:cubicBezTo>
                    <a:pt x="5624447" y="1038497"/>
                    <a:pt x="5582202" y="964470"/>
                    <a:pt x="5567474" y="868352"/>
                  </a:cubicBezTo>
                  <a:cubicBezTo>
                    <a:pt x="5565924" y="852074"/>
                    <a:pt x="5564567" y="836958"/>
                    <a:pt x="5563404" y="823006"/>
                  </a:cubicBezTo>
                  <a:cubicBezTo>
                    <a:pt x="5562242" y="809053"/>
                    <a:pt x="5561660" y="796651"/>
                    <a:pt x="5561660" y="785799"/>
                  </a:cubicBezTo>
                  <a:cubicBezTo>
                    <a:pt x="5561660" y="664876"/>
                    <a:pt x="5582589" y="562944"/>
                    <a:pt x="5624447" y="480003"/>
                  </a:cubicBezTo>
                  <a:cubicBezTo>
                    <a:pt x="5663980" y="402489"/>
                    <a:pt x="5718627" y="345515"/>
                    <a:pt x="5788391" y="309084"/>
                  </a:cubicBezTo>
                  <a:cubicBezTo>
                    <a:pt x="5800793" y="302882"/>
                    <a:pt x="5814358" y="297069"/>
                    <a:pt x="5829086" y="291643"/>
                  </a:cubicBezTo>
                  <a:cubicBezTo>
                    <a:pt x="5843814" y="286217"/>
                    <a:pt x="5859704" y="281178"/>
                    <a:pt x="5876757" y="276527"/>
                  </a:cubicBezTo>
                  <a:cubicBezTo>
                    <a:pt x="5917840" y="266451"/>
                    <a:pt x="5954272" y="261412"/>
                    <a:pt x="5986053" y="261412"/>
                  </a:cubicBezTo>
                  <a:close/>
                  <a:moveTo>
                    <a:pt x="2195159" y="191649"/>
                  </a:moveTo>
                  <a:lnTo>
                    <a:pt x="2219576" y="205602"/>
                  </a:lnTo>
                  <a:cubicBezTo>
                    <a:pt x="2300191" y="253661"/>
                    <a:pt x="2322670" y="312184"/>
                    <a:pt x="2287014" y="381172"/>
                  </a:cubicBezTo>
                  <a:lnTo>
                    <a:pt x="2284688" y="385823"/>
                  </a:lnTo>
                  <a:cubicBezTo>
                    <a:pt x="2268410" y="416054"/>
                    <a:pt x="2244381" y="436595"/>
                    <a:pt x="2212600" y="447447"/>
                  </a:cubicBezTo>
                  <a:cubicBezTo>
                    <a:pt x="2251357" y="523412"/>
                    <a:pt x="2270736" y="607515"/>
                    <a:pt x="2270736" y="699758"/>
                  </a:cubicBezTo>
                  <a:cubicBezTo>
                    <a:pt x="2270736" y="829207"/>
                    <a:pt x="2237017" y="938503"/>
                    <a:pt x="2169579" y="1027644"/>
                  </a:cubicBezTo>
                  <a:cubicBezTo>
                    <a:pt x="2091289" y="1129964"/>
                    <a:pt x="1985482" y="1181123"/>
                    <a:pt x="1852157" y="1181123"/>
                  </a:cubicBezTo>
                  <a:cubicBezTo>
                    <a:pt x="1736660" y="1181123"/>
                    <a:pt x="1645968" y="1147405"/>
                    <a:pt x="1580080" y="1079967"/>
                  </a:cubicBezTo>
                  <a:cubicBezTo>
                    <a:pt x="1513418" y="1011754"/>
                    <a:pt x="1478536" y="916411"/>
                    <a:pt x="1475436" y="793938"/>
                  </a:cubicBezTo>
                  <a:cubicBezTo>
                    <a:pt x="1474660" y="790062"/>
                    <a:pt x="1474273" y="778435"/>
                    <a:pt x="1474273" y="759056"/>
                  </a:cubicBezTo>
                  <a:cubicBezTo>
                    <a:pt x="1474273" y="609453"/>
                    <a:pt x="1509154" y="494344"/>
                    <a:pt x="1578918" y="413728"/>
                  </a:cubicBezTo>
                  <a:cubicBezTo>
                    <a:pt x="1609148" y="378072"/>
                    <a:pt x="1644417" y="349391"/>
                    <a:pt x="1684725" y="327687"/>
                  </a:cubicBezTo>
                  <a:cubicBezTo>
                    <a:pt x="1752938" y="289705"/>
                    <a:pt x="1830065" y="270714"/>
                    <a:pt x="1916106" y="270714"/>
                  </a:cubicBezTo>
                  <a:cubicBezTo>
                    <a:pt x="1957964" y="270714"/>
                    <a:pt x="1998659" y="276527"/>
                    <a:pt x="2038192" y="288155"/>
                  </a:cubicBezTo>
                  <a:cubicBezTo>
                    <a:pt x="2090902" y="305983"/>
                    <a:pt x="2134310" y="335826"/>
                    <a:pt x="2168416" y="377684"/>
                  </a:cubicBezTo>
                  <a:cubicBezTo>
                    <a:pt x="2185470" y="380785"/>
                    <a:pt x="2199034" y="374583"/>
                    <a:pt x="2209112" y="359081"/>
                  </a:cubicBezTo>
                  <a:lnTo>
                    <a:pt x="2210274" y="357918"/>
                  </a:lnTo>
                  <a:cubicBezTo>
                    <a:pt x="2218026" y="340865"/>
                    <a:pt x="2215700" y="324587"/>
                    <a:pt x="2203298" y="309084"/>
                  </a:cubicBezTo>
                  <a:cubicBezTo>
                    <a:pt x="2192446" y="297456"/>
                    <a:pt x="2175393" y="285442"/>
                    <a:pt x="2152138" y="273039"/>
                  </a:cubicBezTo>
                  <a:close/>
                  <a:moveTo>
                    <a:pt x="4176880" y="73051"/>
                  </a:moveTo>
                  <a:lnTo>
                    <a:pt x="4286175" y="76540"/>
                  </a:lnTo>
                  <a:lnTo>
                    <a:pt x="4401285" y="73051"/>
                  </a:lnTo>
                  <a:cubicBezTo>
                    <a:pt x="4404385" y="79277"/>
                    <a:pt x="4409424" y="89027"/>
                    <a:pt x="4416400" y="102301"/>
                  </a:cubicBezTo>
                  <a:cubicBezTo>
                    <a:pt x="4423376" y="115576"/>
                    <a:pt x="4433066" y="132356"/>
                    <a:pt x="4445468" y="152643"/>
                  </a:cubicBezTo>
                  <a:cubicBezTo>
                    <a:pt x="4466397" y="188554"/>
                    <a:pt x="4480737" y="215097"/>
                    <a:pt x="4488489" y="232271"/>
                  </a:cubicBezTo>
                  <a:lnTo>
                    <a:pt x="4486163" y="232271"/>
                  </a:lnTo>
                  <a:cubicBezTo>
                    <a:pt x="4479187" y="232271"/>
                    <a:pt x="4461359" y="234609"/>
                    <a:pt x="4432678" y="239284"/>
                  </a:cubicBezTo>
                  <a:cubicBezTo>
                    <a:pt x="4419501" y="240834"/>
                    <a:pt x="4405161" y="242391"/>
                    <a:pt x="4389657" y="243953"/>
                  </a:cubicBezTo>
                  <a:cubicBezTo>
                    <a:pt x="4374155" y="245516"/>
                    <a:pt x="4357876" y="246684"/>
                    <a:pt x="4340823" y="247459"/>
                  </a:cubicBezTo>
                  <a:cubicBezTo>
                    <a:pt x="4332297" y="234972"/>
                    <a:pt x="4323576" y="221316"/>
                    <a:pt x="4314662" y="206492"/>
                  </a:cubicBezTo>
                  <a:cubicBezTo>
                    <a:pt x="4305748" y="191667"/>
                    <a:pt x="4296640" y="175280"/>
                    <a:pt x="4287338" y="157330"/>
                  </a:cubicBezTo>
                  <a:lnTo>
                    <a:pt x="4226877" y="247459"/>
                  </a:lnTo>
                  <a:cubicBezTo>
                    <a:pt x="4214474" y="246684"/>
                    <a:pt x="4200522" y="246103"/>
                    <a:pt x="4185019" y="245715"/>
                  </a:cubicBezTo>
                  <a:cubicBezTo>
                    <a:pt x="4169516" y="245328"/>
                    <a:pt x="4152850" y="244746"/>
                    <a:pt x="4135022" y="243971"/>
                  </a:cubicBezTo>
                  <a:lnTo>
                    <a:pt x="4057120" y="241628"/>
                  </a:lnTo>
                  <a:cubicBezTo>
                    <a:pt x="4065646" y="228353"/>
                    <a:pt x="4075336" y="214107"/>
                    <a:pt x="4086188" y="198889"/>
                  </a:cubicBezTo>
                  <a:cubicBezTo>
                    <a:pt x="4097040" y="183670"/>
                    <a:pt x="4108667" y="168255"/>
                    <a:pt x="4121069" y="152643"/>
                  </a:cubicBezTo>
                  <a:cubicBezTo>
                    <a:pt x="4148974" y="115182"/>
                    <a:pt x="4167578" y="88651"/>
                    <a:pt x="4176880" y="73051"/>
                  </a:cubicBezTo>
                  <a:close/>
                  <a:moveTo>
                    <a:pt x="1966975" y="91"/>
                  </a:moveTo>
                  <a:cubicBezTo>
                    <a:pt x="1981897" y="-491"/>
                    <a:pt x="1995946" y="1738"/>
                    <a:pt x="2009124" y="6776"/>
                  </a:cubicBezTo>
                  <a:cubicBezTo>
                    <a:pt x="2033929" y="17628"/>
                    <a:pt x="2050982" y="35069"/>
                    <a:pt x="2060283" y="59099"/>
                  </a:cubicBezTo>
                  <a:cubicBezTo>
                    <a:pt x="2071911" y="87779"/>
                    <a:pt x="2069973" y="116847"/>
                    <a:pt x="2054470" y="146303"/>
                  </a:cubicBezTo>
                  <a:cubicBezTo>
                    <a:pt x="2037417" y="178859"/>
                    <a:pt x="2006798" y="204051"/>
                    <a:pt x="1962615" y="221880"/>
                  </a:cubicBezTo>
                  <a:lnTo>
                    <a:pt x="1921920" y="233507"/>
                  </a:lnTo>
                  <a:lnTo>
                    <a:pt x="1909130" y="203276"/>
                  </a:lnTo>
                  <a:cubicBezTo>
                    <a:pt x="1913781" y="202501"/>
                    <a:pt x="1921532" y="198044"/>
                    <a:pt x="1932384" y="189905"/>
                  </a:cubicBezTo>
                  <a:cubicBezTo>
                    <a:pt x="1943237" y="181766"/>
                    <a:pt x="1953701" y="171495"/>
                    <a:pt x="1963778" y="159093"/>
                  </a:cubicBezTo>
                  <a:cubicBezTo>
                    <a:pt x="1977730" y="141264"/>
                    <a:pt x="1980443" y="122273"/>
                    <a:pt x="1971917" y="102119"/>
                  </a:cubicBezTo>
                  <a:cubicBezTo>
                    <a:pt x="1964165" y="88167"/>
                    <a:pt x="1952732" y="80803"/>
                    <a:pt x="1937617" y="80028"/>
                  </a:cubicBezTo>
                  <a:cubicBezTo>
                    <a:pt x="1922501" y="79253"/>
                    <a:pt x="1909518" y="86229"/>
                    <a:pt x="1898666" y="100957"/>
                  </a:cubicBezTo>
                  <a:lnTo>
                    <a:pt x="1838204" y="64912"/>
                  </a:lnTo>
                  <a:cubicBezTo>
                    <a:pt x="1869985" y="37007"/>
                    <a:pt x="1897115" y="18791"/>
                    <a:pt x="1919594" y="10265"/>
                  </a:cubicBezTo>
                  <a:cubicBezTo>
                    <a:pt x="1936260" y="4063"/>
                    <a:pt x="1952053" y="672"/>
                    <a:pt x="1966975" y="91"/>
                  </a:cubicBezTo>
                  <a:close/>
                </a:path>
              </a:pathLst>
            </a:custGeom>
            <a:solidFill>
              <a:schemeClr val="bg1"/>
            </a:solidFill>
            <a:ln w="177800">
              <a:solidFill>
                <a:schemeClr val="bg1"/>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9400" b="0" i="0" u="none" strike="noStrike" kern="1200" cap="none" spc="300" normalizeH="0" baseline="0" noProof="0">
                <a:ln w="177800">
                  <a:solidFill>
                    <a:prstClr val="white"/>
                  </a:solidFill>
                </a:ln>
                <a:solidFill>
                  <a:prstClr val="white"/>
                </a:solidFill>
                <a:effectLst/>
                <a:uLnTx/>
                <a:uFillTx/>
                <a:latin typeface="#9Slide07 Crocante" panose="02000000000000000000" pitchFamily="2" charset="0"/>
                <a:ea typeface="+mn-ea"/>
                <a:cs typeface="+mn-cs"/>
              </a:endParaRPr>
            </a:p>
          </p:txBody>
        </p:sp>
        <p:sp>
          <p:nvSpPr>
            <p:cNvPr id="12" name="TextBox 11">
              <a:extLst>
                <a:ext uri="{FF2B5EF4-FFF2-40B4-BE49-F238E27FC236}">
                  <a16:creationId xmlns:a16="http://schemas.microsoft.com/office/drawing/2014/main" id="{5FE0B441-82BD-FA01-C3BF-6AA240ACE042}"/>
                </a:ext>
              </a:extLst>
            </p:cNvPr>
            <p:cNvSpPr txBox="1">
              <a:spLocks noChangeAspect="1"/>
            </p:cNvSpPr>
            <p:nvPr/>
          </p:nvSpPr>
          <p:spPr>
            <a:xfrm>
              <a:off x="2246716" y="1721946"/>
              <a:ext cx="6302312" cy="1417156"/>
            </a:xfrm>
            <a:custGeom>
              <a:avLst/>
              <a:gdLst/>
              <a:ahLst/>
              <a:cxnLst/>
              <a:rect l="l" t="t" r="r" b="b"/>
              <a:pathLst>
                <a:path w="6302312" h="1417156">
                  <a:moveTo>
                    <a:pt x="4280362" y="1229958"/>
                  </a:moveTo>
                  <a:cubicBezTo>
                    <a:pt x="4339273" y="1229958"/>
                    <a:pt x="4368729" y="1262126"/>
                    <a:pt x="4368729" y="1326463"/>
                  </a:cubicBezTo>
                  <a:cubicBezTo>
                    <a:pt x="4368729" y="1386925"/>
                    <a:pt x="4338886" y="1417156"/>
                    <a:pt x="4279199" y="1417156"/>
                  </a:cubicBezTo>
                  <a:cubicBezTo>
                    <a:pt x="4252844" y="1417156"/>
                    <a:pt x="4230753" y="1409404"/>
                    <a:pt x="4212924" y="1393901"/>
                  </a:cubicBezTo>
                  <a:cubicBezTo>
                    <a:pt x="4194321" y="1377623"/>
                    <a:pt x="4185019" y="1354756"/>
                    <a:pt x="4185019" y="1325301"/>
                  </a:cubicBezTo>
                  <a:cubicBezTo>
                    <a:pt x="4185019" y="1261739"/>
                    <a:pt x="4216800" y="1229958"/>
                    <a:pt x="4280362" y="1229958"/>
                  </a:cubicBezTo>
                  <a:close/>
                  <a:moveTo>
                    <a:pt x="686005" y="1164845"/>
                  </a:moveTo>
                  <a:cubicBezTo>
                    <a:pt x="686005" y="1166008"/>
                    <a:pt x="685956" y="1166153"/>
                    <a:pt x="685859" y="1165281"/>
                  </a:cubicBezTo>
                  <a:lnTo>
                    <a:pt x="685849" y="1165156"/>
                  </a:lnTo>
                  <a:close/>
                  <a:moveTo>
                    <a:pt x="3443725" y="554418"/>
                  </a:moveTo>
                  <a:lnTo>
                    <a:pt x="3403029" y="556743"/>
                  </a:lnTo>
                  <a:lnTo>
                    <a:pt x="3403029" y="638133"/>
                  </a:lnTo>
                  <a:lnTo>
                    <a:pt x="3499535" y="635808"/>
                  </a:lnTo>
                  <a:lnTo>
                    <a:pt x="3487908" y="831145"/>
                  </a:lnTo>
                  <a:cubicBezTo>
                    <a:pt x="3468529" y="830370"/>
                    <a:pt x="3452251" y="829788"/>
                    <a:pt x="3439074" y="829401"/>
                  </a:cubicBezTo>
                  <a:cubicBezTo>
                    <a:pt x="3425896" y="829013"/>
                    <a:pt x="3415432" y="828819"/>
                    <a:pt x="3407680" y="828819"/>
                  </a:cubicBezTo>
                  <a:lnTo>
                    <a:pt x="3410006" y="889281"/>
                  </a:lnTo>
                  <a:lnTo>
                    <a:pt x="3434423" y="889281"/>
                  </a:lnTo>
                  <a:cubicBezTo>
                    <a:pt x="3460778" y="889281"/>
                    <a:pt x="3479381" y="886955"/>
                    <a:pt x="3490233" y="882304"/>
                  </a:cubicBezTo>
                  <a:cubicBezTo>
                    <a:pt x="3500310" y="878429"/>
                    <a:pt x="3512713" y="866802"/>
                    <a:pt x="3527440" y="847423"/>
                  </a:cubicBezTo>
                  <a:cubicBezTo>
                    <a:pt x="3548369" y="818743"/>
                    <a:pt x="3558834" y="775334"/>
                    <a:pt x="3558834" y="717198"/>
                  </a:cubicBezTo>
                  <a:cubicBezTo>
                    <a:pt x="3558834" y="651311"/>
                    <a:pt x="3546819" y="605190"/>
                    <a:pt x="3522789" y="578835"/>
                  </a:cubicBezTo>
                  <a:cubicBezTo>
                    <a:pt x="3507287" y="562557"/>
                    <a:pt x="3480932" y="554418"/>
                    <a:pt x="3443725" y="554418"/>
                  </a:cubicBezTo>
                  <a:close/>
                  <a:moveTo>
                    <a:pt x="4287338" y="531163"/>
                  </a:moveTo>
                  <a:cubicBezTo>
                    <a:pt x="4265634" y="531163"/>
                    <a:pt x="4241217" y="541240"/>
                    <a:pt x="4214087" y="561394"/>
                  </a:cubicBezTo>
                  <a:cubicBezTo>
                    <a:pt x="4184631" y="586199"/>
                    <a:pt x="4169904" y="638909"/>
                    <a:pt x="4169904" y="719524"/>
                  </a:cubicBezTo>
                  <a:cubicBezTo>
                    <a:pt x="4169904" y="778435"/>
                    <a:pt x="4176880" y="823393"/>
                    <a:pt x="4190833" y="854399"/>
                  </a:cubicBezTo>
                  <a:cubicBezTo>
                    <a:pt x="4207886" y="897807"/>
                    <a:pt x="4239279" y="918736"/>
                    <a:pt x="4285013" y="917186"/>
                  </a:cubicBezTo>
                  <a:cubicBezTo>
                    <a:pt x="4330747" y="917186"/>
                    <a:pt x="4360590" y="896645"/>
                    <a:pt x="4374542" y="855562"/>
                  </a:cubicBezTo>
                  <a:cubicBezTo>
                    <a:pt x="4388495" y="812929"/>
                    <a:pt x="4395471" y="769521"/>
                    <a:pt x="4395471" y="725337"/>
                  </a:cubicBezTo>
                  <a:cubicBezTo>
                    <a:pt x="4395471" y="671077"/>
                    <a:pt x="4385782" y="624956"/>
                    <a:pt x="4366403" y="586974"/>
                  </a:cubicBezTo>
                  <a:cubicBezTo>
                    <a:pt x="4346249" y="549767"/>
                    <a:pt x="4319894" y="531163"/>
                    <a:pt x="4287338" y="531163"/>
                  </a:cubicBezTo>
                  <a:close/>
                  <a:moveTo>
                    <a:pt x="1887038" y="531163"/>
                  </a:moveTo>
                  <a:cubicBezTo>
                    <a:pt x="1865334" y="531163"/>
                    <a:pt x="1840917" y="541240"/>
                    <a:pt x="1813787" y="561394"/>
                  </a:cubicBezTo>
                  <a:cubicBezTo>
                    <a:pt x="1784331" y="586199"/>
                    <a:pt x="1769603" y="638909"/>
                    <a:pt x="1769603" y="719524"/>
                  </a:cubicBezTo>
                  <a:cubicBezTo>
                    <a:pt x="1769603" y="778435"/>
                    <a:pt x="1776580" y="823393"/>
                    <a:pt x="1790533" y="854399"/>
                  </a:cubicBezTo>
                  <a:cubicBezTo>
                    <a:pt x="1807586" y="897807"/>
                    <a:pt x="1838979" y="918736"/>
                    <a:pt x="1884713" y="917186"/>
                  </a:cubicBezTo>
                  <a:cubicBezTo>
                    <a:pt x="1930446" y="917186"/>
                    <a:pt x="1960289" y="896645"/>
                    <a:pt x="1974242" y="855562"/>
                  </a:cubicBezTo>
                  <a:cubicBezTo>
                    <a:pt x="1988195" y="812929"/>
                    <a:pt x="1995171" y="769521"/>
                    <a:pt x="1995171" y="725337"/>
                  </a:cubicBezTo>
                  <a:cubicBezTo>
                    <a:pt x="1995171" y="671077"/>
                    <a:pt x="1985482" y="624956"/>
                    <a:pt x="1966103" y="586974"/>
                  </a:cubicBezTo>
                  <a:cubicBezTo>
                    <a:pt x="1945949" y="549767"/>
                    <a:pt x="1919594" y="531163"/>
                    <a:pt x="1887038" y="531163"/>
                  </a:cubicBezTo>
                  <a:close/>
                  <a:moveTo>
                    <a:pt x="2619431" y="330013"/>
                  </a:moveTo>
                  <a:lnTo>
                    <a:pt x="2619431" y="576509"/>
                  </a:lnTo>
                  <a:cubicBezTo>
                    <a:pt x="2619431" y="667976"/>
                    <a:pt x="2620206" y="750917"/>
                    <a:pt x="2621756" y="825331"/>
                  </a:cubicBezTo>
                  <a:cubicBezTo>
                    <a:pt x="2623307" y="899745"/>
                    <a:pt x="2625632" y="966408"/>
                    <a:pt x="2628732" y="1025319"/>
                  </a:cubicBezTo>
                  <a:lnTo>
                    <a:pt x="2631058" y="1110198"/>
                  </a:lnTo>
                  <a:cubicBezTo>
                    <a:pt x="2631058" y="1133452"/>
                    <a:pt x="2628732" y="1147792"/>
                    <a:pt x="2624082" y="1153218"/>
                  </a:cubicBezTo>
                  <a:lnTo>
                    <a:pt x="2333402" y="1141591"/>
                  </a:lnTo>
                  <a:lnTo>
                    <a:pt x="2335727" y="596275"/>
                  </a:lnTo>
                  <a:cubicBezTo>
                    <a:pt x="2336502" y="559068"/>
                    <a:pt x="2336890" y="519148"/>
                    <a:pt x="2336890" y="476515"/>
                  </a:cubicBezTo>
                  <a:cubicBezTo>
                    <a:pt x="2336890" y="433882"/>
                    <a:pt x="2336890" y="387761"/>
                    <a:pt x="2336890" y="338152"/>
                  </a:cubicBezTo>
                  <a:lnTo>
                    <a:pt x="2404327" y="338152"/>
                  </a:lnTo>
                  <a:cubicBezTo>
                    <a:pt x="2426807" y="338152"/>
                    <a:pt x="2449867" y="337764"/>
                    <a:pt x="2473509" y="336989"/>
                  </a:cubicBezTo>
                  <a:cubicBezTo>
                    <a:pt x="2497151" y="336214"/>
                    <a:pt x="2521375" y="335051"/>
                    <a:pt x="2546179" y="333501"/>
                  </a:cubicBezTo>
                  <a:close/>
                  <a:moveTo>
                    <a:pt x="3461165" y="311409"/>
                  </a:moveTo>
                  <a:cubicBezTo>
                    <a:pt x="3576662" y="311409"/>
                    <a:pt x="3664254" y="335051"/>
                    <a:pt x="3723940" y="382335"/>
                  </a:cubicBezTo>
                  <a:cubicBezTo>
                    <a:pt x="3791378" y="435820"/>
                    <a:pt x="3825097" y="542403"/>
                    <a:pt x="3825097" y="702083"/>
                  </a:cubicBezTo>
                  <a:cubicBezTo>
                    <a:pt x="3825097" y="854787"/>
                    <a:pt x="3797191" y="965245"/>
                    <a:pt x="3741381" y="1033458"/>
                  </a:cubicBezTo>
                  <a:cubicBezTo>
                    <a:pt x="3681695" y="1107872"/>
                    <a:pt x="3566585" y="1145079"/>
                    <a:pt x="3396053" y="1145079"/>
                  </a:cubicBezTo>
                  <a:lnTo>
                    <a:pt x="3335592" y="1145079"/>
                  </a:lnTo>
                  <a:cubicBezTo>
                    <a:pt x="3241024" y="1145079"/>
                    <a:pt x="3164284" y="1143916"/>
                    <a:pt x="3105373" y="1141591"/>
                  </a:cubicBezTo>
                  <a:lnTo>
                    <a:pt x="3120488" y="856725"/>
                  </a:lnTo>
                  <a:lnTo>
                    <a:pt x="3120488" y="831145"/>
                  </a:lnTo>
                  <a:lnTo>
                    <a:pt x="3100722" y="831145"/>
                  </a:lnTo>
                  <a:cubicBezTo>
                    <a:pt x="3099947" y="824944"/>
                    <a:pt x="3099559" y="816223"/>
                    <a:pt x="3099559" y="804984"/>
                  </a:cubicBezTo>
                  <a:cubicBezTo>
                    <a:pt x="3099559" y="793744"/>
                    <a:pt x="3099559" y="779598"/>
                    <a:pt x="3099559" y="762544"/>
                  </a:cubicBezTo>
                  <a:lnTo>
                    <a:pt x="3099559" y="700920"/>
                  </a:lnTo>
                  <a:cubicBezTo>
                    <a:pt x="3099559" y="686192"/>
                    <a:pt x="3099559" y="673790"/>
                    <a:pt x="3099559" y="663713"/>
                  </a:cubicBezTo>
                  <a:cubicBezTo>
                    <a:pt x="3099559" y="653636"/>
                    <a:pt x="3099172" y="645885"/>
                    <a:pt x="3098397" y="640459"/>
                  </a:cubicBezTo>
                  <a:lnTo>
                    <a:pt x="3125139" y="640459"/>
                  </a:lnTo>
                  <a:lnTo>
                    <a:pt x="3121651" y="320711"/>
                  </a:lnTo>
                  <a:lnTo>
                    <a:pt x="3190252" y="319548"/>
                  </a:lnTo>
                  <a:cubicBezTo>
                    <a:pt x="3203429" y="319548"/>
                    <a:pt x="3250713" y="318385"/>
                    <a:pt x="3332103" y="316060"/>
                  </a:cubicBezTo>
                  <a:cubicBezTo>
                    <a:pt x="3349932" y="314510"/>
                    <a:pt x="3369698" y="313347"/>
                    <a:pt x="3391402" y="312572"/>
                  </a:cubicBezTo>
                  <a:cubicBezTo>
                    <a:pt x="3413106" y="311797"/>
                    <a:pt x="3436361" y="311409"/>
                    <a:pt x="3461165" y="311409"/>
                  </a:cubicBezTo>
                  <a:close/>
                  <a:moveTo>
                    <a:pt x="4740678" y="286992"/>
                  </a:moveTo>
                  <a:cubicBezTo>
                    <a:pt x="4746879" y="286992"/>
                    <a:pt x="4761607" y="287961"/>
                    <a:pt x="4784861" y="289899"/>
                  </a:cubicBezTo>
                  <a:cubicBezTo>
                    <a:pt x="4808115" y="291837"/>
                    <a:pt x="4839897" y="294743"/>
                    <a:pt x="4880204" y="298619"/>
                  </a:cubicBezTo>
                  <a:cubicBezTo>
                    <a:pt x="4924387" y="302495"/>
                    <a:pt x="4960432" y="305595"/>
                    <a:pt x="4988337" y="307921"/>
                  </a:cubicBezTo>
                  <a:cubicBezTo>
                    <a:pt x="5016242" y="310246"/>
                    <a:pt x="5036784" y="311409"/>
                    <a:pt x="5049961" y="311409"/>
                  </a:cubicBezTo>
                  <a:cubicBezTo>
                    <a:pt x="5098795" y="311409"/>
                    <a:pt x="5124375" y="312959"/>
                    <a:pt x="5126701" y="316060"/>
                  </a:cubicBezTo>
                  <a:cubicBezTo>
                    <a:pt x="5131352" y="323811"/>
                    <a:pt x="5150343" y="396675"/>
                    <a:pt x="5183674" y="534651"/>
                  </a:cubicBezTo>
                  <a:cubicBezTo>
                    <a:pt x="5196852" y="590462"/>
                    <a:pt x="5210029" y="647241"/>
                    <a:pt x="5223206" y="704990"/>
                  </a:cubicBezTo>
                  <a:cubicBezTo>
                    <a:pt x="5236384" y="762738"/>
                    <a:pt x="5249561" y="821843"/>
                    <a:pt x="5262739" y="882304"/>
                  </a:cubicBezTo>
                  <a:lnTo>
                    <a:pt x="5262739" y="848586"/>
                  </a:lnTo>
                  <a:cubicBezTo>
                    <a:pt x="5262739" y="723012"/>
                    <a:pt x="5260413" y="632320"/>
                    <a:pt x="5255763" y="576509"/>
                  </a:cubicBezTo>
                  <a:lnTo>
                    <a:pt x="5237159" y="324199"/>
                  </a:lnTo>
                  <a:cubicBezTo>
                    <a:pt x="5406141" y="324199"/>
                    <a:pt x="5492957" y="326524"/>
                    <a:pt x="5497608" y="331175"/>
                  </a:cubicBezTo>
                  <a:cubicBezTo>
                    <a:pt x="5499159" y="332726"/>
                    <a:pt x="5499934" y="359856"/>
                    <a:pt x="5499934" y="412566"/>
                  </a:cubicBezTo>
                  <a:cubicBezTo>
                    <a:pt x="5499934" y="444347"/>
                    <a:pt x="5499934" y="476321"/>
                    <a:pt x="5499934" y="508490"/>
                  </a:cubicBezTo>
                  <a:cubicBezTo>
                    <a:pt x="5499934" y="540659"/>
                    <a:pt x="5499546" y="574184"/>
                    <a:pt x="5498771" y="609065"/>
                  </a:cubicBezTo>
                  <a:cubicBezTo>
                    <a:pt x="5497996" y="643947"/>
                    <a:pt x="5497608" y="681348"/>
                    <a:pt x="5497608" y="721268"/>
                  </a:cubicBezTo>
                  <a:cubicBezTo>
                    <a:pt x="5497608" y="761188"/>
                    <a:pt x="5497608" y="804402"/>
                    <a:pt x="5497608" y="850911"/>
                  </a:cubicBezTo>
                  <a:cubicBezTo>
                    <a:pt x="5497608" y="919124"/>
                    <a:pt x="5498190" y="977648"/>
                    <a:pt x="5499352" y="1026482"/>
                  </a:cubicBezTo>
                  <a:cubicBezTo>
                    <a:pt x="5500515" y="1075316"/>
                    <a:pt x="5501871" y="1114848"/>
                    <a:pt x="5503422" y="1145079"/>
                  </a:cubicBezTo>
                  <a:lnTo>
                    <a:pt x="5444123" y="1149730"/>
                  </a:lnTo>
                  <a:lnTo>
                    <a:pt x="5253437" y="1145079"/>
                  </a:lnTo>
                  <a:lnTo>
                    <a:pt x="5129026" y="1135777"/>
                  </a:lnTo>
                  <a:cubicBezTo>
                    <a:pt x="5125150" y="1128801"/>
                    <a:pt x="5122825" y="1119499"/>
                    <a:pt x="5122050" y="1107872"/>
                  </a:cubicBezTo>
                  <a:lnTo>
                    <a:pt x="4987174" y="588136"/>
                  </a:lnTo>
                  <a:cubicBezTo>
                    <a:pt x="4987174" y="620693"/>
                    <a:pt x="4987174" y="656156"/>
                    <a:pt x="4987174" y="694525"/>
                  </a:cubicBezTo>
                  <a:cubicBezTo>
                    <a:pt x="4987174" y="732895"/>
                    <a:pt x="4986787" y="774947"/>
                    <a:pt x="4986012" y="820680"/>
                  </a:cubicBezTo>
                  <a:lnTo>
                    <a:pt x="4983686" y="1163683"/>
                  </a:lnTo>
                  <a:lnTo>
                    <a:pt x="4889506" y="1160195"/>
                  </a:lnTo>
                  <a:cubicBezTo>
                    <a:pt x="4864701" y="1158644"/>
                    <a:pt x="4842609" y="1157482"/>
                    <a:pt x="4823231" y="1156706"/>
                  </a:cubicBezTo>
                  <a:cubicBezTo>
                    <a:pt x="4803852" y="1155931"/>
                    <a:pt x="4787574" y="1155544"/>
                    <a:pt x="4774397" y="1155544"/>
                  </a:cubicBezTo>
                  <a:lnTo>
                    <a:pt x="4743003" y="1155544"/>
                  </a:lnTo>
                  <a:cubicBezTo>
                    <a:pt x="4730601" y="1155544"/>
                    <a:pt x="4724400" y="1154381"/>
                    <a:pt x="4724400" y="1152056"/>
                  </a:cubicBezTo>
                  <a:lnTo>
                    <a:pt x="4724400" y="1150893"/>
                  </a:lnTo>
                  <a:cubicBezTo>
                    <a:pt x="4724400" y="581935"/>
                    <a:pt x="4727501" y="294356"/>
                    <a:pt x="4733701" y="288155"/>
                  </a:cubicBezTo>
                  <a:cubicBezTo>
                    <a:pt x="4734477" y="287379"/>
                    <a:pt x="4736802" y="286992"/>
                    <a:pt x="4740678" y="286992"/>
                  </a:cubicBezTo>
                  <a:close/>
                  <a:moveTo>
                    <a:pt x="749926" y="281178"/>
                  </a:moveTo>
                  <a:cubicBezTo>
                    <a:pt x="763104" y="281178"/>
                    <a:pt x="784033" y="281953"/>
                    <a:pt x="812713" y="283504"/>
                  </a:cubicBezTo>
                  <a:cubicBezTo>
                    <a:pt x="841393" y="285054"/>
                    <a:pt x="878213" y="287379"/>
                    <a:pt x="923172" y="290480"/>
                  </a:cubicBezTo>
                  <a:lnTo>
                    <a:pt x="1006887" y="297456"/>
                  </a:lnTo>
                  <a:lnTo>
                    <a:pt x="1004562" y="617204"/>
                  </a:lnTo>
                  <a:lnTo>
                    <a:pt x="1079576" y="612554"/>
                  </a:lnTo>
                  <a:cubicBezTo>
                    <a:pt x="1083488" y="611778"/>
                    <a:pt x="1088959" y="611000"/>
                    <a:pt x="1095990" y="610219"/>
                  </a:cubicBezTo>
                  <a:cubicBezTo>
                    <a:pt x="1103021" y="609438"/>
                    <a:pt x="1110836" y="608272"/>
                    <a:pt x="1119435" y="606722"/>
                  </a:cubicBezTo>
                  <a:lnTo>
                    <a:pt x="1148739" y="602053"/>
                  </a:lnTo>
                  <a:lnTo>
                    <a:pt x="1148739" y="318385"/>
                  </a:lnTo>
                  <a:lnTo>
                    <a:pt x="1165017" y="318385"/>
                  </a:lnTo>
                  <a:cubicBezTo>
                    <a:pt x="1193698" y="318385"/>
                    <a:pt x="1235556" y="314897"/>
                    <a:pt x="1290591" y="307921"/>
                  </a:cubicBezTo>
                  <a:cubicBezTo>
                    <a:pt x="1344076" y="302495"/>
                    <a:pt x="1384384" y="299007"/>
                    <a:pt x="1411514" y="297456"/>
                  </a:cubicBezTo>
                  <a:lnTo>
                    <a:pt x="1408026" y="604414"/>
                  </a:lnTo>
                  <a:cubicBezTo>
                    <a:pt x="1408026" y="680379"/>
                    <a:pt x="1408026" y="739096"/>
                    <a:pt x="1408026" y="780567"/>
                  </a:cubicBezTo>
                  <a:cubicBezTo>
                    <a:pt x="1408026" y="822037"/>
                    <a:pt x="1408413" y="846648"/>
                    <a:pt x="1409188" y="854399"/>
                  </a:cubicBezTo>
                  <a:lnTo>
                    <a:pt x="1419653" y="1160195"/>
                  </a:lnTo>
                  <a:lnTo>
                    <a:pt x="1142962" y="1163683"/>
                  </a:lnTo>
                  <a:cubicBezTo>
                    <a:pt x="1138287" y="1159032"/>
                    <a:pt x="1135949" y="1145467"/>
                    <a:pt x="1135949" y="1122988"/>
                  </a:cubicBezTo>
                  <a:lnTo>
                    <a:pt x="1146414" y="799751"/>
                  </a:lnTo>
                  <a:lnTo>
                    <a:pt x="1006887" y="806728"/>
                  </a:lnTo>
                  <a:lnTo>
                    <a:pt x="1022003" y="1141591"/>
                  </a:lnTo>
                  <a:lnTo>
                    <a:pt x="745275" y="1145079"/>
                  </a:lnTo>
                  <a:cubicBezTo>
                    <a:pt x="740624" y="1140428"/>
                    <a:pt x="738299" y="1126088"/>
                    <a:pt x="738299" y="1102059"/>
                  </a:cubicBezTo>
                  <a:lnTo>
                    <a:pt x="747601" y="831145"/>
                  </a:lnTo>
                  <a:cubicBezTo>
                    <a:pt x="748376" y="777660"/>
                    <a:pt x="748957" y="729213"/>
                    <a:pt x="749345" y="685805"/>
                  </a:cubicBezTo>
                  <a:cubicBezTo>
                    <a:pt x="749732" y="642397"/>
                    <a:pt x="749926" y="603252"/>
                    <a:pt x="749926" y="568370"/>
                  </a:cubicBezTo>
                  <a:close/>
                  <a:moveTo>
                    <a:pt x="642984" y="280016"/>
                  </a:moveTo>
                  <a:lnTo>
                    <a:pt x="660425" y="281178"/>
                  </a:lnTo>
                  <a:cubicBezTo>
                    <a:pt x="659649" y="285054"/>
                    <a:pt x="659262" y="290868"/>
                    <a:pt x="659262" y="298619"/>
                  </a:cubicBezTo>
                  <a:cubicBezTo>
                    <a:pt x="659262" y="306371"/>
                    <a:pt x="659262" y="316447"/>
                    <a:pt x="659262" y="328850"/>
                  </a:cubicBezTo>
                  <a:lnTo>
                    <a:pt x="663913" y="516048"/>
                  </a:lnTo>
                  <a:cubicBezTo>
                    <a:pt x="663913" y="586586"/>
                    <a:pt x="644922" y="634645"/>
                    <a:pt x="606940" y="660225"/>
                  </a:cubicBezTo>
                  <a:cubicBezTo>
                    <a:pt x="601514" y="664101"/>
                    <a:pt x="595506" y="667395"/>
                    <a:pt x="588917" y="670108"/>
                  </a:cubicBezTo>
                  <a:cubicBezTo>
                    <a:pt x="582329" y="672821"/>
                    <a:pt x="575159" y="674953"/>
                    <a:pt x="567407" y="676503"/>
                  </a:cubicBezTo>
                  <a:cubicBezTo>
                    <a:pt x="555780" y="678829"/>
                    <a:pt x="549966" y="680379"/>
                    <a:pt x="549966" y="681154"/>
                  </a:cubicBezTo>
                  <a:cubicBezTo>
                    <a:pt x="579931" y="691231"/>
                    <a:pt x="608357" y="715648"/>
                    <a:pt x="635245" y="754405"/>
                  </a:cubicBezTo>
                  <a:cubicBezTo>
                    <a:pt x="665984" y="797814"/>
                    <a:pt x="681354" y="875328"/>
                    <a:pt x="681354" y="986949"/>
                  </a:cubicBezTo>
                  <a:lnTo>
                    <a:pt x="680191" y="1047411"/>
                  </a:lnTo>
                  <a:cubicBezTo>
                    <a:pt x="680191" y="1076866"/>
                    <a:pt x="681354" y="1104772"/>
                    <a:pt x="683679" y="1131127"/>
                  </a:cubicBezTo>
                  <a:cubicBezTo>
                    <a:pt x="684454" y="1144304"/>
                    <a:pt x="685036" y="1153800"/>
                    <a:pt x="685423" y="1159613"/>
                  </a:cubicBezTo>
                  <a:lnTo>
                    <a:pt x="685849" y="1165156"/>
                  </a:lnTo>
                  <a:lnTo>
                    <a:pt x="684842" y="1167171"/>
                  </a:lnTo>
                  <a:cubicBezTo>
                    <a:pt x="684067" y="1170271"/>
                    <a:pt x="665160" y="1171822"/>
                    <a:pt x="628123" y="1171822"/>
                  </a:cubicBezTo>
                  <a:cubicBezTo>
                    <a:pt x="606516" y="1171822"/>
                    <a:pt x="589151" y="1171822"/>
                    <a:pt x="576028" y="1171822"/>
                  </a:cubicBezTo>
                  <a:cubicBezTo>
                    <a:pt x="562905" y="1171822"/>
                    <a:pt x="553261" y="1172209"/>
                    <a:pt x="547096" y="1172984"/>
                  </a:cubicBezTo>
                  <a:cubicBezTo>
                    <a:pt x="534742" y="1172984"/>
                    <a:pt x="523935" y="1172984"/>
                    <a:pt x="514676" y="1172984"/>
                  </a:cubicBezTo>
                  <a:cubicBezTo>
                    <a:pt x="505417" y="1172984"/>
                    <a:pt x="497699" y="1173372"/>
                    <a:pt x="491521" y="1174147"/>
                  </a:cubicBezTo>
                  <a:cubicBezTo>
                    <a:pt x="487670" y="1174922"/>
                    <a:pt x="483234" y="1175310"/>
                    <a:pt x="478214" y="1175310"/>
                  </a:cubicBezTo>
                  <a:cubicBezTo>
                    <a:pt x="473194" y="1175310"/>
                    <a:pt x="466826" y="1175310"/>
                    <a:pt x="459111" y="1175310"/>
                  </a:cubicBezTo>
                  <a:lnTo>
                    <a:pt x="419742" y="1176473"/>
                  </a:lnTo>
                  <a:lnTo>
                    <a:pt x="423230" y="1048573"/>
                  </a:lnTo>
                  <a:cubicBezTo>
                    <a:pt x="423230" y="1003615"/>
                    <a:pt x="419742" y="959432"/>
                    <a:pt x="412766" y="916023"/>
                  </a:cubicBezTo>
                  <a:cubicBezTo>
                    <a:pt x="405789" y="874165"/>
                    <a:pt x="396487" y="846260"/>
                    <a:pt x="384860" y="832308"/>
                  </a:cubicBezTo>
                  <a:cubicBezTo>
                    <a:pt x="367807" y="810603"/>
                    <a:pt x="344940" y="799751"/>
                    <a:pt x="316260" y="799751"/>
                  </a:cubicBezTo>
                  <a:lnTo>
                    <a:pt x="297656" y="802077"/>
                  </a:lnTo>
                  <a:cubicBezTo>
                    <a:pt x="288354" y="805953"/>
                    <a:pt x="283703" y="821843"/>
                    <a:pt x="283703" y="849748"/>
                  </a:cubicBezTo>
                  <a:cubicBezTo>
                    <a:pt x="283703" y="891606"/>
                    <a:pt x="284866" y="940828"/>
                    <a:pt x="287192" y="997414"/>
                  </a:cubicBezTo>
                  <a:lnTo>
                    <a:pt x="293005" y="1145079"/>
                  </a:lnTo>
                  <a:lnTo>
                    <a:pt x="0" y="1156706"/>
                  </a:lnTo>
                  <a:lnTo>
                    <a:pt x="3488" y="293968"/>
                  </a:lnTo>
                  <a:cubicBezTo>
                    <a:pt x="3488" y="290093"/>
                    <a:pt x="59299" y="288155"/>
                    <a:pt x="170920" y="288155"/>
                  </a:cubicBezTo>
                  <a:lnTo>
                    <a:pt x="260449" y="290480"/>
                  </a:lnTo>
                  <a:lnTo>
                    <a:pt x="277890" y="605577"/>
                  </a:lnTo>
                  <a:cubicBezTo>
                    <a:pt x="283316" y="607903"/>
                    <a:pt x="289130" y="609065"/>
                    <a:pt x="295331" y="609065"/>
                  </a:cubicBezTo>
                  <a:cubicBezTo>
                    <a:pt x="365094" y="609065"/>
                    <a:pt x="399976" y="562944"/>
                    <a:pt x="399976" y="470702"/>
                  </a:cubicBezTo>
                  <a:lnTo>
                    <a:pt x="397650" y="288155"/>
                  </a:lnTo>
                  <a:lnTo>
                    <a:pt x="426718" y="288155"/>
                  </a:lnTo>
                  <a:cubicBezTo>
                    <a:pt x="440671" y="288155"/>
                    <a:pt x="456949" y="287767"/>
                    <a:pt x="475552" y="286992"/>
                  </a:cubicBezTo>
                  <a:cubicBezTo>
                    <a:pt x="494156" y="286217"/>
                    <a:pt x="515085" y="285054"/>
                    <a:pt x="538339" y="283504"/>
                  </a:cubicBezTo>
                  <a:cubicBezTo>
                    <a:pt x="590274" y="281178"/>
                    <a:pt x="625155" y="280016"/>
                    <a:pt x="642984" y="280016"/>
                  </a:cubicBezTo>
                  <a:close/>
                  <a:moveTo>
                    <a:pt x="4316406" y="270714"/>
                  </a:moveTo>
                  <a:cubicBezTo>
                    <a:pt x="4358264" y="270714"/>
                    <a:pt x="4398959" y="276527"/>
                    <a:pt x="4438492" y="288155"/>
                  </a:cubicBezTo>
                  <a:cubicBezTo>
                    <a:pt x="4511356" y="312184"/>
                    <a:pt x="4568329" y="362569"/>
                    <a:pt x="4609412" y="439308"/>
                  </a:cubicBezTo>
                  <a:cubicBezTo>
                    <a:pt x="4650495" y="517598"/>
                    <a:pt x="4671036" y="604414"/>
                    <a:pt x="4671036" y="699758"/>
                  </a:cubicBezTo>
                  <a:cubicBezTo>
                    <a:pt x="4671036" y="829207"/>
                    <a:pt x="4637317" y="938503"/>
                    <a:pt x="4569879" y="1027644"/>
                  </a:cubicBezTo>
                  <a:cubicBezTo>
                    <a:pt x="4491589" y="1129964"/>
                    <a:pt x="4385782" y="1181123"/>
                    <a:pt x="4252457" y="1181123"/>
                  </a:cubicBezTo>
                  <a:cubicBezTo>
                    <a:pt x="4136960" y="1181123"/>
                    <a:pt x="4046268" y="1147405"/>
                    <a:pt x="3980380" y="1079967"/>
                  </a:cubicBezTo>
                  <a:cubicBezTo>
                    <a:pt x="3913718" y="1011754"/>
                    <a:pt x="3878836" y="916411"/>
                    <a:pt x="3875735" y="793938"/>
                  </a:cubicBezTo>
                  <a:cubicBezTo>
                    <a:pt x="3874960" y="790062"/>
                    <a:pt x="3874573" y="778435"/>
                    <a:pt x="3874573" y="759056"/>
                  </a:cubicBezTo>
                  <a:cubicBezTo>
                    <a:pt x="3874573" y="609453"/>
                    <a:pt x="3909454" y="494344"/>
                    <a:pt x="3979217" y="413728"/>
                  </a:cubicBezTo>
                  <a:cubicBezTo>
                    <a:pt x="4009448" y="378072"/>
                    <a:pt x="4044718" y="349391"/>
                    <a:pt x="4085025" y="327687"/>
                  </a:cubicBezTo>
                  <a:cubicBezTo>
                    <a:pt x="4153238" y="289705"/>
                    <a:pt x="4230365" y="270714"/>
                    <a:pt x="4316406" y="270714"/>
                  </a:cubicBezTo>
                  <a:close/>
                  <a:moveTo>
                    <a:pt x="5986053" y="261412"/>
                  </a:moveTo>
                  <a:lnTo>
                    <a:pt x="5988378" y="261412"/>
                  </a:lnTo>
                  <a:cubicBezTo>
                    <a:pt x="5996905" y="261412"/>
                    <a:pt x="6007951" y="262187"/>
                    <a:pt x="6021516" y="263738"/>
                  </a:cubicBezTo>
                  <a:cubicBezTo>
                    <a:pt x="6035081" y="265288"/>
                    <a:pt x="6050778" y="267613"/>
                    <a:pt x="6068606" y="270714"/>
                  </a:cubicBezTo>
                  <a:cubicBezTo>
                    <a:pt x="6078683" y="272264"/>
                    <a:pt x="6089341" y="274783"/>
                    <a:pt x="6100581" y="278272"/>
                  </a:cubicBezTo>
                  <a:cubicBezTo>
                    <a:pt x="6111821" y="281760"/>
                    <a:pt x="6123642" y="286604"/>
                    <a:pt x="6136044" y="292806"/>
                  </a:cubicBezTo>
                  <a:cubicBezTo>
                    <a:pt x="6229061" y="337764"/>
                    <a:pt x="6281771" y="410240"/>
                    <a:pt x="6294174" y="510234"/>
                  </a:cubicBezTo>
                  <a:cubicBezTo>
                    <a:pt x="6297274" y="528838"/>
                    <a:pt x="6299406" y="544728"/>
                    <a:pt x="6300568" y="557906"/>
                  </a:cubicBezTo>
                  <a:cubicBezTo>
                    <a:pt x="6301731" y="571083"/>
                    <a:pt x="6302312" y="581935"/>
                    <a:pt x="6302312" y="590462"/>
                  </a:cubicBezTo>
                  <a:lnTo>
                    <a:pt x="6203481" y="599764"/>
                  </a:lnTo>
                  <a:lnTo>
                    <a:pt x="6050002" y="611391"/>
                  </a:lnTo>
                  <a:lnTo>
                    <a:pt x="6050002" y="592787"/>
                  </a:lnTo>
                  <a:cubicBezTo>
                    <a:pt x="6050002" y="573409"/>
                    <a:pt x="6041863" y="557131"/>
                    <a:pt x="6025585" y="543953"/>
                  </a:cubicBezTo>
                  <a:cubicBezTo>
                    <a:pt x="6008532" y="530776"/>
                    <a:pt x="5989154" y="524187"/>
                    <a:pt x="5967449" y="524187"/>
                  </a:cubicBezTo>
                  <a:cubicBezTo>
                    <a:pt x="5922491" y="524187"/>
                    <a:pt x="5886447" y="549379"/>
                    <a:pt x="5859316" y="599764"/>
                  </a:cubicBezTo>
                  <a:cubicBezTo>
                    <a:pt x="5835287" y="647823"/>
                    <a:pt x="5823272" y="701308"/>
                    <a:pt x="5823272" y="760219"/>
                  </a:cubicBezTo>
                  <a:cubicBezTo>
                    <a:pt x="5823272" y="840059"/>
                    <a:pt x="5842263" y="891606"/>
                    <a:pt x="5880245" y="914861"/>
                  </a:cubicBezTo>
                  <a:cubicBezTo>
                    <a:pt x="5897299" y="924938"/>
                    <a:pt x="5915515" y="929976"/>
                    <a:pt x="5934893" y="929976"/>
                  </a:cubicBezTo>
                  <a:cubicBezTo>
                    <a:pt x="5958148" y="929976"/>
                    <a:pt x="5978689" y="923000"/>
                    <a:pt x="5996517" y="909047"/>
                  </a:cubicBezTo>
                  <a:cubicBezTo>
                    <a:pt x="6013571" y="894319"/>
                    <a:pt x="6022097" y="876491"/>
                    <a:pt x="6022097" y="855562"/>
                  </a:cubicBezTo>
                  <a:lnTo>
                    <a:pt x="5939544" y="852074"/>
                  </a:lnTo>
                  <a:lnTo>
                    <a:pt x="5939544" y="790450"/>
                  </a:lnTo>
                  <a:cubicBezTo>
                    <a:pt x="5939544" y="749367"/>
                    <a:pt x="5942257" y="727275"/>
                    <a:pt x="5947683" y="724175"/>
                  </a:cubicBezTo>
                  <a:cubicBezTo>
                    <a:pt x="5952334" y="721074"/>
                    <a:pt x="6008920" y="718749"/>
                    <a:pt x="6117440" y="717198"/>
                  </a:cubicBezTo>
                  <a:lnTo>
                    <a:pt x="6281384" y="716036"/>
                  </a:lnTo>
                  <a:lnTo>
                    <a:pt x="6284872" y="748592"/>
                  </a:lnTo>
                  <a:lnTo>
                    <a:pt x="6284872" y="764870"/>
                  </a:lnTo>
                  <a:cubicBezTo>
                    <a:pt x="6284872" y="792775"/>
                    <a:pt x="6281384" y="826882"/>
                    <a:pt x="6274407" y="867189"/>
                  </a:cubicBezTo>
                  <a:cubicBezTo>
                    <a:pt x="6267431" y="909047"/>
                    <a:pt x="6259292" y="943541"/>
                    <a:pt x="6249990" y="970671"/>
                  </a:cubicBezTo>
                  <a:cubicBezTo>
                    <a:pt x="6228286" y="1032683"/>
                    <a:pt x="6187591" y="1080742"/>
                    <a:pt x="6127905" y="1114848"/>
                  </a:cubicBezTo>
                  <a:cubicBezTo>
                    <a:pt x="6068219" y="1149730"/>
                    <a:pt x="6001944" y="1167171"/>
                    <a:pt x="5929080" y="1167171"/>
                  </a:cubicBezTo>
                  <a:cubicBezTo>
                    <a:pt x="5840713" y="1167171"/>
                    <a:pt x="5762424" y="1141591"/>
                    <a:pt x="5694210" y="1090431"/>
                  </a:cubicBezTo>
                  <a:cubicBezTo>
                    <a:pt x="5624447" y="1038497"/>
                    <a:pt x="5582202" y="964470"/>
                    <a:pt x="5567474" y="868352"/>
                  </a:cubicBezTo>
                  <a:cubicBezTo>
                    <a:pt x="5565924" y="852074"/>
                    <a:pt x="5564567" y="836958"/>
                    <a:pt x="5563404" y="823006"/>
                  </a:cubicBezTo>
                  <a:cubicBezTo>
                    <a:pt x="5562242" y="809053"/>
                    <a:pt x="5561660" y="796651"/>
                    <a:pt x="5561660" y="785799"/>
                  </a:cubicBezTo>
                  <a:cubicBezTo>
                    <a:pt x="5561660" y="664876"/>
                    <a:pt x="5582589" y="562944"/>
                    <a:pt x="5624447" y="480003"/>
                  </a:cubicBezTo>
                  <a:cubicBezTo>
                    <a:pt x="5663980" y="402489"/>
                    <a:pt x="5718627" y="345515"/>
                    <a:pt x="5788391" y="309084"/>
                  </a:cubicBezTo>
                  <a:cubicBezTo>
                    <a:pt x="5800793" y="302882"/>
                    <a:pt x="5814358" y="297069"/>
                    <a:pt x="5829086" y="291643"/>
                  </a:cubicBezTo>
                  <a:cubicBezTo>
                    <a:pt x="5843814" y="286217"/>
                    <a:pt x="5859704" y="281178"/>
                    <a:pt x="5876757" y="276527"/>
                  </a:cubicBezTo>
                  <a:cubicBezTo>
                    <a:pt x="5917840" y="266451"/>
                    <a:pt x="5954272" y="261412"/>
                    <a:pt x="5986053" y="261412"/>
                  </a:cubicBezTo>
                  <a:close/>
                  <a:moveTo>
                    <a:pt x="2195159" y="191649"/>
                  </a:moveTo>
                  <a:lnTo>
                    <a:pt x="2219576" y="205602"/>
                  </a:lnTo>
                  <a:cubicBezTo>
                    <a:pt x="2300191" y="253661"/>
                    <a:pt x="2322670" y="312184"/>
                    <a:pt x="2287014" y="381172"/>
                  </a:cubicBezTo>
                  <a:lnTo>
                    <a:pt x="2284688" y="385823"/>
                  </a:lnTo>
                  <a:cubicBezTo>
                    <a:pt x="2268410" y="416054"/>
                    <a:pt x="2244380" y="436595"/>
                    <a:pt x="2212600" y="447447"/>
                  </a:cubicBezTo>
                  <a:cubicBezTo>
                    <a:pt x="2251357" y="523412"/>
                    <a:pt x="2270736" y="607515"/>
                    <a:pt x="2270736" y="699758"/>
                  </a:cubicBezTo>
                  <a:cubicBezTo>
                    <a:pt x="2270736" y="829207"/>
                    <a:pt x="2237017" y="938503"/>
                    <a:pt x="2169579" y="1027644"/>
                  </a:cubicBezTo>
                  <a:cubicBezTo>
                    <a:pt x="2091289" y="1129964"/>
                    <a:pt x="1985482" y="1181123"/>
                    <a:pt x="1852157" y="1181123"/>
                  </a:cubicBezTo>
                  <a:cubicBezTo>
                    <a:pt x="1736660" y="1181123"/>
                    <a:pt x="1645968" y="1147405"/>
                    <a:pt x="1580080" y="1079967"/>
                  </a:cubicBezTo>
                  <a:cubicBezTo>
                    <a:pt x="1513418" y="1011754"/>
                    <a:pt x="1478536" y="916411"/>
                    <a:pt x="1475435" y="793938"/>
                  </a:cubicBezTo>
                  <a:cubicBezTo>
                    <a:pt x="1474660" y="790062"/>
                    <a:pt x="1474273" y="778435"/>
                    <a:pt x="1474273" y="759056"/>
                  </a:cubicBezTo>
                  <a:cubicBezTo>
                    <a:pt x="1474273" y="609453"/>
                    <a:pt x="1509154" y="494344"/>
                    <a:pt x="1578918" y="413728"/>
                  </a:cubicBezTo>
                  <a:cubicBezTo>
                    <a:pt x="1609148" y="378072"/>
                    <a:pt x="1644417" y="349391"/>
                    <a:pt x="1684725" y="327687"/>
                  </a:cubicBezTo>
                  <a:cubicBezTo>
                    <a:pt x="1752938" y="289705"/>
                    <a:pt x="1830065" y="270714"/>
                    <a:pt x="1916106" y="270714"/>
                  </a:cubicBezTo>
                  <a:cubicBezTo>
                    <a:pt x="1957964" y="270714"/>
                    <a:pt x="1998659" y="276527"/>
                    <a:pt x="2038192" y="288155"/>
                  </a:cubicBezTo>
                  <a:cubicBezTo>
                    <a:pt x="2090902" y="305983"/>
                    <a:pt x="2134310" y="335826"/>
                    <a:pt x="2168416" y="377684"/>
                  </a:cubicBezTo>
                  <a:cubicBezTo>
                    <a:pt x="2185469" y="380785"/>
                    <a:pt x="2199034" y="374583"/>
                    <a:pt x="2209112" y="359081"/>
                  </a:cubicBezTo>
                  <a:lnTo>
                    <a:pt x="2210274" y="357918"/>
                  </a:lnTo>
                  <a:cubicBezTo>
                    <a:pt x="2218026" y="340865"/>
                    <a:pt x="2215700" y="324587"/>
                    <a:pt x="2203298" y="309084"/>
                  </a:cubicBezTo>
                  <a:cubicBezTo>
                    <a:pt x="2192446" y="297456"/>
                    <a:pt x="2175393" y="285442"/>
                    <a:pt x="2152138" y="273039"/>
                  </a:cubicBezTo>
                  <a:close/>
                  <a:moveTo>
                    <a:pt x="4176880" y="73051"/>
                  </a:moveTo>
                  <a:lnTo>
                    <a:pt x="4286176" y="76540"/>
                  </a:lnTo>
                  <a:lnTo>
                    <a:pt x="4401285" y="73051"/>
                  </a:lnTo>
                  <a:cubicBezTo>
                    <a:pt x="4404385" y="79277"/>
                    <a:pt x="4409424" y="89027"/>
                    <a:pt x="4416400" y="102301"/>
                  </a:cubicBezTo>
                  <a:cubicBezTo>
                    <a:pt x="4423376" y="115576"/>
                    <a:pt x="4433066" y="132356"/>
                    <a:pt x="4445468" y="152643"/>
                  </a:cubicBezTo>
                  <a:cubicBezTo>
                    <a:pt x="4466397" y="188554"/>
                    <a:pt x="4480738" y="215097"/>
                    <a:pt x="4488489" y="232271"/>
                  </a:cubicBezTo>
                  <a:lnTo>
                    <a:pt x="4486163" y="232271"/>
                  </a:lnTo>
                  <a:cubicBezTo>
                    <a:pt x="4479187" y="232271"/>
                    <a:pt x="4461359" y="234609"/>
                    <a:pt x="4432678" y="239284"/>
                  </a:cubicBezTo>
                  <a:cubicBezTo>
                    <a:pt x="4419501" y="240834"/>
                    <a:pt x="4405161" y="242391"/>
                    <a:pt x="4389658" y="243953"/>
                  </a:cubicBezTo>
                  <a:cubicBezTo>
                    <a:pt x="4374155" y="245516"/>
                    <a:pt x="4357877" y="246684"/>
                    <a:pt x="4340823" y="247459"/>
                  </a:cubicBezTo>
                  <a:cubicBezTo>
                    <a:pt x="4332297" y="234972"/>
                    <a:pt x="4323576" y="221316"/>
                    <a:pt x="4314662" y="206492"/>
                  </a:cubicBezTo>
                  <a:cubicBezTo>
                    <a:pt x="4305748" y="191667"/>
                    <a:pt x="4296640" y="175280"/>
                    <a:pt x="4287338" y="157330"/>
                  </a:cubicBezTo>
                  <a:lnTo>
                    <a:pt x="4226877" y="247459"/>
                  </a:lnTo>
                  <a:cubicBezTo>
                    <a:pt x="4214475" y="246684"/>
                    <a:pt x="4200522" y="246103"/>
                    <a:pt x="4185019" y="245715"/>
                  </a:cubicBezTo>
                  <a:cubicBezTo>
                    <a:pt x="4169516" y="245328"/>
                    <a:pt x="4152851" y="244746"/>
                    <a:pt x="4135022" y="243971"/>
                  </a:cubicBezTo>
                  <a:lnTo>
                    <a:pt x="4057120" y="241628"/>
                  </a:lnTo>
                  <a:cubicBezTo>
                    <a:pt x="4065647" y="228353"/>
                    <a:pt x="4075336" y="214107"/>
                    <a:pt x="4086188" y="198889"/>
                  </a:cubicBezTo>
                  <a:cubicBezTo>
                    <a:pt x="4097040" y="183670"/>
                    <a:pt x="4108667" y="168255"/>
                    <a:pt x="4121069" y="152643"/>
                  </a:cubicBezTo>
                  <a:cubicBezTo>
                    <a:pt x="4148975" y="115182"/>
                    <a:pt x="4167578" y="88651"/>
                    <a:pt x="4176880" y="73051"/>
                  </a:cubicBezTo>
                  <a:close/>
                  <a:moveTo>
                    <a:pt x="1966975" y="91"/>
                  </a:moveTo>
                  <a:cubicBezTo>
                    <a:pt x="1981897" y="-491"/>
                    <a:pt x="1995946" y="1738"/>
                    <a:pt x="2009124" y="6776"/>
                  </a:cubicBezTo>
                  <a:cubicBezTo>
                    <a:pt x="2033928" y="17628"/>
                    <a:pt x="2050982" y="35069"/>
                    <a:pt x="2060283" y="59099"/>
                  </a:cubicBezTo>
                  <a:cubicBezTo>
                    <a:pt x="2071911" y="87779"/>
                    <a:pt x="2069973" y="116847"/>
                    <a:pt x="2054470" y="146303"/>
                  </a:cubicBezTo>
                  <a:cubicBezTo>
                    <a:pt x="2037417" y="178859"/>
                    <a:pt x="2006798" y="204051"/>
                    <a:pt x="1962615" y="221880"/>
                  </a:cubicBezTo>
                  <a:lnTo>
                    <a:pt x="1921920" y="233507"/>
                  </a:lnTo>
                  <a:lnTo>
                    <a:pt x="1909130" y="203276"/>
                  </a:lnTo>
                  <a:cubicBezTo>
                    <a:pt x="1913781" y="202501"/>
                    <a:pt x="1921532" y="198044"/>
                    <a:pt x="1932384" y="189905"/>
                  </a:cubicBezTo>
                  <a:cubicBezTo>
                    <a:pt x="1943236" y="181766"/>
                    <a:pt x="1953701" y="171495"/>
                    <a:pt x="1963778" y="159093"/>
                  </a:cubicBezTo>
                  <a:cubicBezTo>
                    <a:pt x="1977730" y="141264"/>
                    <a:pt x="1980443" y="122273"/>
                    <a:pt x="1971917" y="102119"/>
                  </a:cubicBezTo>
                  <a:cubicBezTo>
                    <a:pt x="1964165" y="88167"/>
                    <a:pt x="1952732" y="80803"/>
                    <a:pt x="1937617" y="80028"/>
                  </a:cubicBezTo>
                  <a:cubicBezTo>
                    <a:pt x="1922501" y="79253"/>
                    <a:pt x="1909517" y="86229"/>
                    <a:pt x="1898665" y="100957"/>
                  </a:cubicBezTo>
                  <a:lnTo>
                    <a:pt x="1838204" y="64912"/>
                  </a:lnTo>
                  <a:cubicBezTo>
                    <a:pt x="1869985" y="37007"/>
                    <a:pt x="1897115" y="18791"/>
                    <a:pt x="1919594" y="10265"/>
                  </a:cubicBezTo>
                  <a:cubicBezTo>
                    <a:pt x="1936260" y="4063"/>
                    <a:pt x="1952053" y="672"/>
                    <a:pt x="1966975" y="91"/>
                  </a:cubicBezTo>
                  <a:close/>
                </a:path>
              </a:pathLst>
            </a:custGeom>
            <a:gradFill>
              <a:gsLst>
                <a:gs pos="100000">
                  <a:schemeClr val="accent5"/>
                </a:gs>
                <a:gs pos="0">
                  <a:schemeClr val="accent6">
                    <a:lumMod val="75000"/>
                  </a:schemeClr>
                </a:gs>
              </a:gsLst>
              <a:lin ang="5400000" scaled="1"/>
            </a:gra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9400" b="0" i="0" u="none" strike="noStrike" kern="1200" cap="none" spc="300" normalizeH="0" baseline="0" noProof="0">
                <a:ln>
                  <a:noFill/>
                </a:ln>
                <a:gradFill>
                  <a:gsLst>
                    <a:gs pos="100000">
                      <a:srgbClr val="FC6E51"/>
                    </a:gs>
                    <a:gs pos="0">
                      <a:srgbClr val="ED5565">
                        <a:lumMod val="75000"/>
                      </a:srgbClr>
                    </a:gs>
                  </a:gsLst>
                  <a:lin ang="5400000" scaled="1"/>
                </a:gradFill>
                <a:effectLst/>
                <a:uLnTx/>
                <a:uFillTx/>
                <a:latin typeface="#9Slide07 Crocante" panose="02000000000000000000" pitchFamily="2" charset="0"/>
                <a:ea typeface="+mn-ea"/>
                <a:cs typeface="+mn-cs"/>
              </a:endParaRPr>
            </a:p>
          </p:txBody>
        </p:sp>
      </p:grpSp>
    </p:spTree>
    <p:custDataLst>
      <p:tags r:id="rId1"/>
    </p:custDataLst>
    <p:extLst>
      <p:ext uri="{BB962C8B-B14F-4D97-AF65-F5344CB8AC3E}">
        <p14:creationId xmlns:p14="http://schemas.microsoft.com/office/powerpoint/2010/main" val="3109994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 calcmode="lin" valueType="num">
                                      <p:cBhvr>
                                        <p:cTn id="9" dur="500" fill="hold"/>
                                        <p:tgtEl>
                                          <p:spTgt spid="13"/>
                                        </p:tgtEl>
                                        <p:attrNameLst>
                                          <p:attrName>style.rotation</p:attrName>
                                        </p:attrNameLst>
                                      </p:cBhvr>
                                      <p:tavLst>
                                        <p:tav tm="0">
                                          <p:val>
                                            <p:fltVal val="90"/>
                                          </p:val>
                                        </p:tav>
                                        <p:tav tm="100000">
                                          <p:val>
                                            <p:fltVal val="0"/>
                                          </p:val>
                                        </p:tav>
                                      </p:tavLst>
                                    </p:anim>
                                    <p:animEffect transition="in" filter="fade">
                                      <p:cBhvr>
                                        <p:cTn id="10" dur="500"/>
                                        <p:tgtEl>
                                          <p:spTgt spid="13"/>
                                        </p:tgtEl>
                                      </p:cBhvr>
                                    </p:animEffect>
                                  </p:childTnLst>
                                </p:cTn>
                              </p:par>
                              <p:par>
                                <p:cTn id="11" presetID="32" presetClass="emph" presetSubtype="0" fill="hold" nodeType="withEffect">
                                  <p:stCondLst>
                                    <p:cond delay="250"/>
                                  </p:stCondLst>
                                  <p:childTnLst>
                                    <p:animRot by="120000">
                                      <p:cBhvr>
                                        <p:cTn id="12" dur="75" fill="hold">
                                          <p:stCondLst>
                                            <p:cond delay="0"/>
                                          </p:stCondLst>
                                        </p:cTn>
                                        <p:tgtEl>
                                          <p:spTgt spid="13"/>
                                        </p:tgtEl>
                                        <p:attrNameLst>
                                          <p:attrName>r</p:attrName>
                                        </p:attrNameLst>
                                      </p:cBhvr>
                                    </p:animRot>
                                    <p:animRot by="-240000">
                                      <p:cBhvr>
                                        <p:cTn id="13" dur="150" fill="hold">
                                          <p:stCondLst>
                                            <p:cond delay="150"/>
                                          </p:stCondLst>
                                        </p:cTn>
                                        <p:tgtEl>
                                          <p:spTgt spid="13"/>
                                        </p:tgtEl>
                                        <p:attrNameLst>
                                          <p:attrName>r</p:attrName>
                                        </p:attrNameLst>
                                      </p:cBhvr>
                                    </p:animRot>
                                    <p:animRot by="240000">
                                      <p:cBhvr>
                                        <p:cTn id="14" dur="150" fill="hold">
                                          <p:stCondLst>
                                            <p:cond delay="300"/>
                                          </p:stCondLst>
                                        </p:cTn>
                                        <p:tgtEl>
                                          <p:spTgt spid="13"/>
                                        </p:tgtEl>
                                        <p:attrNameLst>
                                          <p:attrName>r</p:attrName>
                                        </p:attrNameLst>
                                      </p:cBhvr>
                                    </p:animRot>
                                    <p:animRot by="-240000">
                                      <p:cBhvr>
                                        <p:cTn id="15" dur="150" fill="hold">
                                          <p:stCondLst>
                                            <p:cond delay="450"/>
                                          </p:stCondLst>
                                        </p:cTn>
                                        <p:tgtEl>
                                          <p:spTgt spid="13"/>
                                        </p:tgtEl>
                                        <p:attrNameLst>
                                          <p:attrName>r</p:attrName>
                                        </p:attrNameLst>
                                      </p:cBhvr>
                                    </p:animRot>
                                    <p:animRot by="120000">
                                      <p:cBhvr>
                                        <p:cTn id="16" dur="150" fill="hold">
                                          <p:stCondLst>
                                            <p:cond delay="600"/>
                                          </p:stCondLst>
                                        </p:cTn>
                                        <p:tgtEl>
                                          <p:spTgt spid="1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401100AF-2748-4964-A0C4-F81170ED8D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图片 4">
            <a:extLst>
              <a:ext uri="{FF2B5EF4-FFF2-40B4-BE49-F238E27FC236}">
                <a16:creationId xmlns:a16="http://schemas.microsoft.com/office/drawing/2014/main" id="{1BF9DC1D-F613-49D5-8D54-A77EAD70F106}"/>
              </a:ext>
            </a:extLst>
          </p:cNvPr>
          <p:cNvPicPr>
            <a:picLocks noChangeAspect="1"/>
          </p:cNvPicPr>
          <p:nvPr/>
        </p:nvPicPr>
        <p:blipFill>
          <a:blip r:embed="rId3">
            <a:extLst>
              <a:ext uri="{28A0092B-C50C-407E-A947-70E740481C1C}">
                <a14:useLocalDpi xmlns:a14="http://schemas.microsoft.com/office/drawing/2010/main" val="0"/>
              </a:ext>
            </a:extLst>
          </a:blip>
          <a:srcRect r="68007" b="14711"/>
          <a:stretch>
            <a:fillRect/>
          </a:stretch>
        </p:blipFill>
        <p:spPr>
          <a:xfrm>
            <a:off x="0" y="0"/>
            <a:ext cx="3900591" cy="4332706"/>
          </a:xfrm>
          <a:custGeom>
            <a:avLst/>
            <a:gdLst>
              <a:gd name="connsiteX0" fmla="*/ 0 w 3900591"/>
              <a:gd name="connsiteY0" fmla="*/ 0 h 4332706"/>
              <a:gd name="connsiteX1" fmla="*/ 3900591 w 3900591"/>
              <a:gd name="connsiteY1" fmla="*/ 0 h 4332706"/>
              <a:gd name="connsiteX2" fmla="*/ 529389 w 3900591"/>
              <a:gd name="connsiteY2" fmla="*/ 4332706 h 4332706"/>
              <a:gd name="connsiteX3" fmla="*/ 0 w 3900591"/>
              <a:gd name="connsiteY3" fmla="*/ 4281681 h 4332706"/>
              <a:gd name="connsiteX4" fmla="*/ 0 w 3900591"/>
              <a:gd name="connsiteY4" fmla="*/ 0 h 4332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0591" h="4332706">
                <a:moveTo>
                  <a:pt x="0" y="0"/>
                </a:moveTo>
                <a:lnTo>
                  <a:pt x="3900591" y="0"/>
                </a:lnTo>
                <a:lnTo>
                  <a:pt x="529389" y="4332706"/>
                </a:lnTo>
                <a:lnTo>
                  <a:pt x="0" y="4281681"/>
                </a:lnTo>
                <a:lnTo>
                  <a:pt x="0" y="0"/>
                </a:lnTo>
                <a:close/>
              </a:path>
            </a:pathLst>
          </a:custGeom>
        </p:spPr>
      </p:pic>
      <p:pic>
        <p:nvPicPr>
          <p:cNvPr id="7" name="图片 6">
            <a:extLst>
              <a:ext uri="{FF2B5EF4-FFF2-40B4-BE49-F238E27FC236}">
                <a16:creationId xmlns:a16="http://schemas.microsoft.com/office/drawing/2014/main" id="{E68036D1-9D81-463E-8494-C10E2BBC239F}"/>
              </a:ext>
            </a:extLst>
          </p:cNvPr>
          <p:cNvPicPr>
            <a:picLocks noChangeAspect="1"/>
          </p:cNvPicPr>
          <p:nvPr/>
        </p:nvPicPr>
        <p:blipFill>
          <a:blip r:embed="rId3">
            <a:extLst>
              <a:ext uri="{28A0092B-C50C-407E-A947-70E740481C1C}">
                <a14:useLocalDpi xmlns:a14="http://schemas.microsoft.com/office/drawing/2010/main" val="0"/>
              </a:ext>
            </a:extLst>
          </a:blip>
          <a:srcRect l="72336" t="8079"/>
          <a:stretch>
            <a:fillRect/>
          </a:stretch>
        </p:blipFill>
        <p:spPr>
          <a:xfrm>
            <a:off x="8542421" y="1805295"/>
            <a:ext cx="3649579" cy="5052705"/>
          </a:xfrm>
          <a:custGeom>
            <a:avLst/>
            <a:gdLst>
              <a:gd name="connsiteX0" fmla="*/ 0 w 3372853"/>
              <a:gd name="connsiteY0" fmla="*/ 0 h 4669588"/>
              <a:gd name="connsiteX1" fmla="*/ 3372853 w 3372853"/>
              <a:gd name="connsiteY1" fmla="*/ 0 h 4669588"/>
              <a:gd name="connsiteX2" fmla="*/ 3372853 w 3372853"/>
              <a:gd name="connsiteY2" fmla="*/ 4669588 h 4669588"/>
              <a:gd name="connsiteX3" fmla="*/ 0 w 3372853"/>
              <a:gd name="connsiteY3" fmla="*/ 4669588 h 4669588"/>
              <a:gd name="connsiteX4" fmla="*/ 0 w 3372853"/>
              <a:gd name="connsiteY4" fmla="*/ 0 h 4669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2853" h="4669588">
                <a:moveTo>
                  <a:pt x="0" y="0"/>
                </a:moveTo>
                <a:lnTo>
                  <a:pt x="3372853" y="0"/>
                </a:lnTo>
                <a:lnTo>
                  <a:pt x="3372853" y="4669588"/>
                </a:lnTo>
                <a:lnTo>
                  <a:pt x="0" y="4669588"/>
                </a:lnTo>
                <a:lnTo>
                  <a:pt x="0" y="0"/>
                </a:lnTo>
                <a:close/>
              </a:path>
            </a:pathLst>
          </a:custGeom>
        </p:spPr>
      </p:pic>
      <p:pic>
        <p:nvPicPr>
          <p:cNvPr id="35" name="图片 34">
            <a:extLst>
              <a:ext uri="{FF2B5EF4-FFF2-40B4-BE49-F238E27FC236}">
                <a16:creationId xmlns:a16="http://schemas.microsoft.com/office/drawing/2014/main" id="{387C93AB-C007-417E-A482-3D07EE3C3A73}"/>
              </a:ext>
            </a:extLst>
          </p:cNvPr>
          <p:cNvPicPr>
            <a:picLocks noChangeAspect="1"/>
          </p:cNvPicPr>
          <p:nvPr/>
        </p:nvPicPr>
        <p:blipFill>
          <a:blip r:embed="rId4"/>
          <a:stretch>
            <a:fillRect/>
          </a:stretch>
        </p:blipFill>
        <p:spPr>
          <a:xfrm>
            <a:off x="9843487" y="-67303"/>
            <a:ext cx="1889587" cy="3110085"/>
          </a:xfrm>
          <a:prstGeom prst="rect">
            <a:avLst/>
          </a:prstGeom>
          <a:effectLst>
            <a:outerShdw blurRad="63500" algn="ctr" rotWithShape="0">
              <a:prstClr val="black">
                <a:alpha val="40000"/>
              </a:prstClr>
            </a:outerShdw>
          </a:effectLst>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31407" y="65688"/>
            <a:ext cx="1408258" cy="1408258"/>
          </a:xfrm>
          <a:prstGeom prst="rect">
            <a:avLst/>
          </a:prstGeom>
        </p:spPr>
      </p:pic>
      <p:grpSp>
        <p:nvGrpSpPr>
          <p:cNvPr id="2" name="组合 14">
            <a:extLst>
              <a:ext uri="{FF2B5EF4-FFF2-40B4-BE49-F238E27FC236}">
                <a16:creationId xmlns:a16="http://schemas.microsoft.com/office/drawing/2014/main" id="{6EA04480-BEAC-FD9D-9530-797AFA3CBC1B}"/>
              </a:ext>
            </a:extLst>
          </p:cNvPr>
          <p:cNvGrpSpPr/>
          <p:nvPr/>
        </p:nvGrpSpPr>
        <p:grpSpPr>
          <a:xfrm>
            <a:off x="639832" y="580700"/>
            <a:ext cx="10943401" cy="5995186"/>
            <a:chOff x="1230551" y="432350"/>
            <a:chExt cx="10943401" cy="5995186"/>
          </a:xfrm>
          <a:effectLst>
            <a:outerShdw blurRad="63500" algn="ctr" rotWithShape="0">
              <a:prstClr val="black">
                <a:alpha val="40000"/>
              </a:prstClr>
            </a:outerShdw>
          </a:effectLst>
        </p:grpSpPr>
        <p:pic>
          <p:nvPicPr>
            <p:cNvPr id="10" name="图片 12">
              <a:extLst>
                <a:ext uri="{FF2B5EF4-FFF2-40B4-BE49-F238E27FC236}">
                  <a16:creationId xmlns:a16="http://schemas.microsoft.com/office/drawing/2014/main" id="{5B6CCAA9-E706-3EB0-6CA7-25C89EB1DE18}"/>
                </a:ext>
              </a:extLst>
            </p:cNvPr>
            <p:cNvPicPr>
              <a:picLocks noChangeAspect="1"/>
            </p:cNvPicPr>
            <p:nvPr/>
          </p:nvPicPr>
          <p:blipFill>
            <a:blip r:embed="rId6">
              <a:extLst>
                <a:ext uri="{28A0092B-C50C-407E-A947-70E740481C1C}">
                  <a14:useLocalDpi xmlns:a14="http://schemas.microsoft.com/office/drawing/2010/main" val="0"/>
                </a:ext>
              </a:extLst>
            </a:blip>
            <a:srcRect l="19638" r="4770" b="7605"/>
            <a:stretch>
              <a:fillRect/>
            </a:stretch>
          </p:blipFill>
          <p:spPr>
            <a:xfrm>
              <a:off x="1230551" y="854242"/>
              <a:ext cx="10943401" cy="5573294"/>
            </a:xfrm>
            <a:custGeom>
              <a:avLst/>
              <a:gdLst>
                <a:gd name="connsiteX0" fmla="*/ 0 w 9216190"/>
                <a:gd name="connsiteY0" fmla="*/ 0 h 4693654"/>
                <a:gd name="connsiteX1" fmla="*/ 9216190 w 9216190"/>
                <a:gd name="connsiteY1" fmla="*/ 0 h 4693654"/>
                <a:gd name="connsiteX2" fmla="*/ 9216190 w 9216190"/>
                <a:gd name="connsiteY2" fmla="*/ 4693654 h 4693654"/>
                <a:gd name="connsiteX3" fmla="*/ 0 w 9216190"/>
                <a:gd name="connsiteY3" fmla="*/ 4693654 h 4693654"/>
              </a:gdLst>
              <a:ahLst/>
              <a:cxnLst>
                <a:cxn ang="0">
                  <a:pos x="connsiteX0" y="connsiteY0"/>
                </a:cxn>
                <a:cxn ang="0">
                  <a:pos x="connsiteX1" y="connsiteY1"/>
                </a:cxn>
                <a:cxn ang="0">
                  <a:pos x="connsiteX2" y="connsiteY2"/>
                </a:cxn>
                <a:cxn ang="0">
                  <a:pos x="connsiteX3" y="connsiteY3"/>
                </a:cxn>
              </a:cxnLst>
              <a:rect l="l" t="t" r="r" b="b"/>
              <a:pathLst>
                <a:path w="9216190" h="4693654">
                  <a:moveTo>
                    <a:pt x="0" y="0"/>
                  </a:moveTo>
                  <a:lnTo>
                    <a:pt x="9216190" y="0"/>
                  </a:lnTo>
                  <a:lnTo>
                    <a:pt x="9216190" y="4693654"/>
                  </a:lnTo>
                  <a:lnTo>
                    <a:pt x="0" y="4693654"/>
                  </a:lnTo>
                  <a:close/>
                </a:path>
              </a:pathLst>
            </a:custGeom>
          </p:spPr>
        </p:pic>
        <p:sp>
          <p:nvSpPr>
            <p:cNvPr id="11" name="矩形: 圆角 13">
              <a:extLst>
                <a:ext uri="{FF2B5EF4-FFF2-40B4-BE49-F238E27FC236}">
                  <a16:creationId xmlns:a16="http://schemas.microsoft.com/office/drawing/2014/main" id="{95842010-86CB-08AC-4F36-D13E29AFA921}"/>
                </a:ext>
              </a:extLst>
            </p:cNvPr>
            <p:cNvSpPr/>
            <p:nvPr/>
          </p:nvSpPr>
          <p:spPr>
            <a:xfrm rot="249189">
              <a:off x="2671831" y="432350"/>
              <a:ext cx="8182486" cy="401535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grpSp>
      <p:pic>
        <p:nvPicPr>
          <p:cNvPr id="38" name="图片 37">
            <a:extLst>
              <a:ext uri="{FF2B5EF4-FFF2-40B4-BE49-F238E27FC236}">
                <a16:creationId xmlns:a16="http://schemas.microsoft.com/office/drawing/2014/main" id="{1ED2D2EC-114F-4097-9452-EF62F592E744}"/>
              </a:ext>
            </a:extLst>
          </p:cNvPr>
          <p:cNvPicPr>
            <a:picLocks noChangeAspect="1"/>
          </p:cNvPicPr>
          <p:nvPr/>
        </p:nvPicPr>
        <p:blipFill>
          <a:blip r:embed="rId7"/>
          <a:stretch>
            <a:fillRect/>
          </a:stretch>
        </p:blipFill>
        <p:spPr>
          <a:xfrm rot="812017">
            <a:off x="3617391" y="4861667"/>
            <a:ext cx="3007846" cy="2222397"/>
          </a:xfrm>
          <a:prstGeom prst="rect">
            <a:avLst/>
          </a:prstGeom>
        </p:spPr>
      </p:pic>
      <p:pic>
        <p:nvPicPr>
          <p:cNvPr id="9" name="图片 8">
            <a:extLst>
              <a:ext uri="{FF2B5EF4-FFF2-40B4-BE49-F238E27FC236}">
                <a16:creationId xmlns:a16="http://schemas.microsoft.com/office/drawing/2014/main" id="{516BF2D4-86F2-4900-856F-4C2E78E11A16}"/>
              </a:ext>
            </a:extLst>
          </p:cNvPr>
          <p:cNvPicPr>
            <a:picLocks noChangeAspect="1"/>
          </p:cNvPicPr>
          <p:nvPr/>
        </p:nvPicPr>
        <p:blipFill>
          <a:blip r:embed="rId3">
            <a:extLst>
              <a:ext uri="{28A0092B-C50C-407E-A947-70E740481C1C}">
                <a14:useLocalDpi xmlns:a14="http://schemas.microsoft.com/office/drawing/2010/main" val="0"/>
              </a:ext>
            </a:extLst>
          </a:blip>
          <a:srcRect l="9770" t="57342" r="69901"/>
          <a:stretch>
            <a:fillRect/>
          </a:stretch>
        </p:blipFill>
        <p:spPr>
          <a:xfrm>
            <a:off x="215075" y="4174958"/>
            <a:ext cx="3068700" cy="2683042"/>
          </a:xfrm>
          <a:custGeom>
            <a:avLst/>
            <a:gdLst>
              <a:gd name="connsiteX0" fmla="*/ 442925 w 2478505"/>
              <a:gd name="connsiteY0" fmla="*/ 0 h 2167019"/>
              <a:gd name="connsiteX1" fmla="*/ 2478505 w 2478505"/>
              <a:gd name="connsiteY1" fmla="*/ 0 h 2167019"/>
              <a:gd name="connsiteX2" fmla="*/ 2478505 w 2478505"/>
              <a:gd name="connsiteY2" fmla="*/ 2167019 h 2167019"/>
              <a:gd name="connsiteX3" fmla="*/ 0 w 2478505"/>
              <a:gd name="connsiteY3" fmla="*/ 2167019 h 2167019"/>
              <a:gd name="connsiteX4" fmla="*/ 0 w 2478505"/>
              <a:gd name="connsiteY4" fmla="*/ 569252 h 2167019"/>
              <a:gd name="connsiteX5" fmla="*/ 442925 w 2478505"/>
              <a:gd name="connsiteY5" fmla="*/ 0 h 2167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505" h="2167019">
                <a:moveTo>
                  <a:pt x="442925" y="0"/>
                </a:moveTo>
                <a:lnTo>
                  <a:pt x="2478505" y="0"/>
                </a:lnTo>
                <a:lnTo>
                  <a:pt x="2478505" y="2167019"/>
                </a:lnTo>
                <a:lnTo>
                  <a:pt x="0" y="2167019"/>
                </a:lnTo>
                <a:lnTo>
                  <a:pt x="0" y="569252"/>
                </a:lnTo>
                <a:lnTo>
                  <a:pt x="442925" y="0"/>
                </a:lnTo>
                <a:close/>
              </a:path>
            </a:pathLst>
          </a:custGeom>
        </p:spPr>
      </p:pic>
      <p:pic>
        <p:nvPicPr>
          <p:cNvPr id="4" name="Picture 3">
            <a:extLst>
              <a:ext uri="{FF2B5EF4-FFF2-40B4-BE49-F238E27FC236}">
                <a16:creationId xmlns:a16="http://schemas.microsoft.com/office/drawing/2014/main" id="{FA9B2475-E5CC-ED55-158F-F5F5B9531ED8}"/>
              </a:ext>
            </a:extLst>
          </p:cNvPr>
          <p:cNvPicPr>
            <a:picLocks noChangeAspect="1"/>
          </p:cNvPicPr>
          <p:nvPr/>
        </p:nvPicPr>
        <p:blipFill>
          <a:blip r:embed="rId8"/>
          <a:stretch>
            <a:fillRect/>
          </a:stretch>
        </p:blipFill>
        <p:spPr>
          <a:xfrm>
            <a:off x="4765023" y="110208"/>
            <a:ext cx="3121423" cy="1182727"/>
          </a:xfrm>
          <a:prstGeom prst="rect">
            <a:avLst/>
          </a:prstGeom>
        </p:spPr>
      </p:pic>
      <p:pic>
        <p:nvPicPr>
          <p:cNvPr id="12" name="Picture 11">
            <a:extLst>
              <a:ext uri="{FF2B5EF4-FFF2-40B4-BE49-F238E27FC236}">
                <a16:creationId xmlns:a16="http://schemas.microsoft.com/office/drawing/2014/main" id="{3DB96882-A617-D45E-3602-32BD2C573B2E}"/>
              </a:ext>
            </a:extLst>
          </p:cNvPr>
          <p:cNvPicPr>
            <a:picLocks noChangeAspect="1"/>
          </p:cNvPicPr>
          <p:nvPr/>
        </p:nvPicPr>
        <p:blipFill>
          <a:blip r:embed="rId9"/>
          <a:stretch>
            <a:fillRect/>
          </a:stretch>
        </p:blipFill>
        <p:spPr>
          <a:xfrm>
            <a:off x="2480309" y="1521995"/>
            <a:ext cx="7588397" cy="1955876"/>
          </a:xfrm>
          <a:prstGeom prst="rect">
            <a:avLst/>
          </a:prstGeom>
        </p:spPr>
      </p:pic>
      <p:sp>
        <p:nvSpPr>
          <p:cNvPr id="14" name="TextBox 13">
            <a:extLst>
              <a:ext uri="{FF2B5EF4-FFF2-40B4-BE49-F238E27FC236}">
                <a16:creationId xmlns:a16="http://schemas.microsoft.com/office/drawing/2014/main" id="{0257AA8C-9D38-82DC-8762-EB0EDD164B8D}"/>
              </a:ext>
            </a:extLst>
          </p:cNvPr>
          <p:cNvSpPr txBox="1"/>
          <p:nvPr/>
        </p:nvSpPr>
        <p:spPr>
          <a:xfrm>
            <a:off x="5509260" y="3623310"/>
            <a:ext cx="2308860" cy="646331"/>
          </a:xfrm>
          <a:prstGeom prst="rect">
            <a:avLst/>
          </a:prstGeom>
          <a:noFill/>
        </p:spPr>
        <p:txBody>
          <a:bodyPr wrap="square" rtlCol="0">
            <a:spAutoFit/>
          </a:bodyPr>
          <a:lstStyle/>
          <a:p>
            <a:r>
              <a:rPr lang="en-US" sz="3600" b="1" dirty="0">
                <a:latin typeface="Cambria" panose="02040503050406030204" pitchFamily="18" charset="0"/>
                <a:ea typeface="Cambria" panose="02040503050406030204" pitchFamily="18" charset="0"/>
              </a:rPr>
              <a:t>(</a:t>
            </a:r>
            <a:r>
              <a:rPr lang="en-US" sz="3600" b="1" dirty="0" err="1">
                <a:latin typeface="Cambria" panose="02040503050406030204" pitchFamily="18" charset="0"/>
                <a:ea typeface="Cambria" panose="02040503050406030204" pitchFamily="18" charset="0"/>
              </a:rPr>
              <a:t>Tiết</a:t>
            </a:r>
            <a:r>
              <a:rPr lang="en-US" sz="3600" b="1" dirty="0">
                <a:latin typeface="Cambria" panose="02040503050406030204" pitchFamily="18" charset="0"/>
                <a:ea typeface="Cambria" panose="02040503050406030204" pitchFamily="18" charset="0"/>
              </a:rPr>
              <a:t> 5)</a:t>
            </a:r>
          </a:p>
        </p:txBody>
      </p:sp>
    </p:spTree>
    <p:extLst>
      <p:ext uri="{BB962C8B-B14F-4D97-AF65-F5344CB8AC3E}">
        <p14:creationId xmlns:p14="http://schemas.microsoft.com/office/powerpoint/2010/main" val="3061902419"/>
      </p:ext>
    </p:extLst>
  </p:cSld>
  <p:clrMapOvr>
    <a:masterClrMapping/>
  </p:clrMapOvr>
  <p:transition spd="med" advClick="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par>
                                <p:cTn id="8" presetID="14" presetClass="entr" presetSubtype="1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wipe(up)">
                                      <p:cBhvr>
                                        <p:cTn id="25" dur="500"/>
                                        <p:tgtEl>
                                          <p:spTgt spid="35"/>
                                        </p:tgtEl>
                                      </p:cBhvr>
                                    </p:animEffect>
                                  </p:childTnLst>
                                </p:cTn>
                              </p:par>
                            </p:childTnLst>
                          </p:cTn>
                        </p:par>
                      </p:childTnLst>
                    </p:cTn>
                  </p:par>
                  <p:par>
                    <p:cTn id="26" fill="hold">
                      <p:stCondLst>
                        <p:cond delay="indefinite"/>
                      </p:stCondLst>
                      <p:childTnLst>
                        <p:par>
                          <p:cTn id="27" fill="hold">
                            <p:stCondLst>
                              <p:cond delay="0"/>
                            </p:stCondLst>
                            <p:childTnLst>
                              <p:par>
                                <p:cTn id="28" presetID="16" presetClass="entr" presetSubtype="21"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arn(inVertical)">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4">
                                            <p:txEl>
                                              <p:pRg st="0" end="0"/>
                                            </p:txEl>
                                          </p:spTgt>
                                        </p:tgtEl>
                                        <p:attrNameLst>
                                          <p:attrName>style.visibility</p:attrName>
                                        </p:attrNameLst>
                                      </p:cBhvr>
                                      <p:to>
                                        <p:strVal val="visible"/>
                                      </p:to>
                                    </p:set>
                                    <p:animEffect transition="in" filter="fade">
                                      <p:cBhvr>
                                        <p:cTn id="35" dur="1000"/>
                                        <p:tgtEl>
                                          <p:spTgt spid="14">
                                            <p:txEl>
                                              <p:pRg st="0" end="0"/>
                                            </p:txEl>
                                          </p:spTgt>
                                        </p:tgtEl>
                                      </p:cBhvr>
                                    </p:animEffect>
                                    <p:anim calcmode="lin" valueType="num">
                                      <p:cBhvr>
                                        <p:cTn id="36" dur="1000" fill="hold"/>
                                        <p:tgtEl>
                                          <p:spTgt spid="14">
                                            <p:txEl>
                                              <p:pRg st="0" end="0"/>
                                            </p:txEl>
                                          </p:spTgt>
                                        </p:tgtEl>
                                        <p:attrNameLst>
                                          <p:attrName>ppt_x</p:attrName>
                                        </p:attrNameLst>
                                      </p:cBhvr>
                                      <p:tavLst>
                                        <p:tav tm="0">
                                          <p:val>
                                            <p:strVal val="#ppt_x"/>
                                          </p:val>
                                        </p:tav>
                                        <p:tav tm="100000">
                                          <p:val>
                                            <p:strVal val="#ppt_x"/>
                                          </p:val>
                                        </p:tav>
                                      </p:tavLst>
                                    </p:anim>
                                    <p:anim calcmode="lin" valueType="num">
                                      <p:cBhvr>
                                        <p:cTn id="37" dur="1000" fill="hold"/>
                                        <p:tgtEl>
                                          <p:spTgt spid="14">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3C644D81-D74B-4F00-A47D-07DA4F720132}"/>
              </a:ext>
            </a:extLst>
          </p:cNvPr>
          <p:cNvSpPr txBox="1"/>
          <p:nvPr/>
        </p:nvSpPr>
        <p:spPr>
          <a:xfrm>
            <a:off x="174171" y="471425"/>
            <a:ext cx="1201782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1. Quan </a:t>
            </a:r>
            <a:r>
              <a:rPr kumimoji="0" lang="en-US" sz="3600" b="1" i="0" u="none" strike="noStrike" kern="1200" cap="none" spc="0" normalizeH="0" baseline="0" noProof="0" dirty="0" err="1">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sát</a:t>
            </a:r>
            <a:r>
              <a:rPr kumimoji="0" lang="en-US" sz="3600" b="1"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 </a:t>
            </a:r>
            <a:r>
              <a:rPr kumimoji="0" lang="en-US" sz="3600" b="1" i="0" u="none" strike="noStrike" kern="1200" cap="none" spc="0" normalizeH="0" baseline="0" noProof="0" dirty="0" err="1">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tranh</a:t>
            </a:r>
            <a:r>
              <a:rPr kumimoji="0" lang="en-US" sz="3600" b="1"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 </a:t>
            </a:r>
            <a:r>
              <a:rPr kumimoji="0" lang="en-US" sz="3600" b="1" i="0" u="none" strike="noStrike" kern="1200" cap="none" spc="0" normalizeH="0" baseline="0" noProof="0" dirty="0" err="1">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và</a:t>
            </a:r>
            <a:r>
              <a:rPr kumimoji="0" lang="en-US" sz="3600" b="1"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 </a:t>
            </a:r>
            <a:r>
              <a:rPr kumimoji="0" lang="en-US" sz="3600" b="1" i="0" u="none" strike="noStrike" kern="1200" cap="none" spc="0" normalizeH="0" baseline="0" noProof="0" dirty="0" err="1">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nêu</a:t>
            </a:r>
            <a:r>
              <a:rPr kumimoji="0" lang="en-US" sz="3600" b="1"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 </a:t>
            </a:r>
            <a:r>
              <a:rPr kumimoji="0" lang="en-US" sz="3600" b="1" i="0" u="none" strike="noStrike" kern="1200" cap="none" spc="0" normalizeH="0" baseline="0" noProof="0" dirty="0" err="1">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nội</a:t>
            </a:r>
            <a:r>
              <a:rPr kumimoji="0" lang="en-US" sz="3600" b="1"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 dung </a:t>
            </a:r>
            <a:r>
              <a:rPr kumimoji="0" lang="en-US" sz="3600" b="1" i="0" u="none" strike="noStrike" kern="1200" cap="none" spc="0" normalizeH="0" baseline="0" noProof="0" dirty="0" err="1">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từng</a:t>
            </a:r>
            <a:r>
              <a:rPr kumimoji="0" lang="en-US" sz="3600" b="1"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 </a:t>
            </a:r>
            <a:r>
              <a:rPr kumimoji="0" lang="en-US" sz="3600" b="1" i="0" u="none" strike="noStrike" kern="1200" cap="none" spc="0" normalizeH="0" baseline="0" noProof="0" dirty="0" err="1">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rPr>
              <a:t>tranh</a:t>
            </a:r>
            <a:endParaRPr kumimoji="0" lang="en-US" sz="3600" b="0"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cs typeface="Calibri" panose="020F0502020204030204" pitchFamily="34" charset="0"/>
            </a:endParaRPr>
          </a:p>
        </p:txBody>
      </p:sp>
      <p:pic>
        <p:nvPicPr>
          <p:cNvPr id="3" name="Picture 2">
            <a:extLst>
              <a:ext uri="{FF2B5EF4-FFF2-40B4-BE49-F238E27FC236}">
                <a16:creationId xmlns:a16="http://schemas.microsoft.com/office/drawing/2014/main" id="{36C74BF9-AFA7-4510-A4AF-CF9BEBAF38F2}"/>
              </a:ext>
            </a:extLst>
          </p:cNvPr>
          <p:cNvPicPr>
            <a:picLocks noChangeAspect="1"/>
          </p:cNvPicPr>
          <p:nvPr/>
        </p:nvPicPr>
        <p:blipFill>
          <a:blip r:embed="rId3"/>
          <a:stretch>
            <a:fillRect/>
          </a:stretch>
        </p:blipFill>
        <p:spPr>
          <a:xfrm>
            <a:off x="3287485" y="1523199"/>
            <a:ext cx="6118245" cy="4662695"/>
          </a:xfrm>
          <a:prstGeom prst="rect">
            <a:avLst/>
          </a:prstGeom>
        </p:spPr>
      </p:pic>
    </p:spTree>
    <p:extLst>
      <p:ext uri="{BB962C8B-B14F-4D97-AF65-F5344CB8AC3E}">
        <p14:creationId xmlns:p14="http://schemas.microsoft.com/office/powerpoint/2010/main" val="103231698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9B5D8A22-64A4-4582-A01E-0003BD0928F8}"/>
              </a:ext>
            </a:extLst>
          </p:cNvPr>
          <p:cNvSpPr/>
          <p:nvPr/>
        </p:nvSpPr>
        <p:spPr>
          <a:xfrm>
            <a:off x="5863589" y="2150745"/>
            <a:ext cx="5812155" cy="2809875"/>
          </a:xfrm>
          <a:prstGeom prst="roundRect">
            <a:avLst/>
          </a:prstGeom>
          <a:solidFill>
            <a:schemeClr val="accent4">
              <a:lumMod val="20000"/>
              <a:lumOff val="80000"/>
            </a:schemeClr>
          </a:solidFill>
          <a:ln w="57150">
            <a:solidFill>
              <a:srgbClr val="7030A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n-US" sz="3600" dirty="0">
                <a:solidFill>
                  <a:srgbClr val="002060"/>
                </a:solidFill>
                <a:latin typeface="Cambria" panose="02040503050406030204" pitchFamily="18" charset="0"/>
                <a:ea typeface="Cambria" panose="02040503050406030204" pitchFamily="18" charset="0"/>
              </a:rPr>
              <a:t>   </a:t>
            </a:r>
            <a:r>
              <a:rPr lang="vi-VN" sz="3600" dirty="0">
                <a:solidFill>
                  <a:srgbClr val="002060"/>
                </a:solidFill>
                <a:latin typeface="Cambria" panose="02040503050406030204" pitchFamily="18" charset="0"/>
                <a:ea typeface="Cambria" panose="02040503050406030204" pitchFamily="18" charset="0"/>
              </a:rPr>
              <a:t>Nhà tôi có vườn cây ăn quả xum xuê. Từ khi tôi còn bé tí, ông tôi đã làm vườn, trồng các loại cây ăn quả.</a:t>
            </a:r>
            <a:endParaRPr kumimoji="0" lang="en-US" sz="3600" b="0"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endParaRPr>
          </a:p>
        </p:txBody>
      </p:sp>
      <p:pic>
        <p:nvPicPr>
          <p:cNvPr id="2" name="1">
            <a:hlinkClick r:id="" action="ppaction://media"/>
            <a:extLst>
              <a:ext uri="{FF2B5EF4-FFF2-40B4-BE49-F238E27FC236}">
                <a16:creationId xmlns:a16="http://schemas.microsoft.com/office/drawing/2014/main" id="{D000E87C-A8CB-BBBC-7FED-82D3453A58CD}"/>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57859" y="1351280"/>
            <a:ext cx="5040671" cy="3906520"/>
          </a:xfrm>
          <a:prstGeom prst="rect">
            <a:avLst/>
          </a:prstGeom>
        </p:spPr>
      </p:pic>
    </p:spTree>
    <p:extLst>
      <p:ext uri="{BB962C8B-B14F-4D97-AF65-F5344CB8AC3E}">
        <p14:creationId xmlns:p14="http://schemas.microsoft.com/office/powerpoint/2010/main" val="37683143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par>
                          <p:cTn id="10" fill="hold">
                            <p:stCondLst>
                              <p:cond delay="500"/>
                            </p:stCondLst>
                            <p:childTnLst>
                              <p:par>
                                <p:cTn id="11" presetID="1" presetClass="mediacall" presetSubtype="0" fill="hold" nodeType="afterEffect">
                                  <p:stCondLst>
                                    <p:cond delay="0"/>
                                  </p:stCondLst>
                                  <p:childTnLst>
                                    <p:cmd type="call" cmd="playFrom(0.0)">
                                      <p:cBhvr>
                                        <p:cTn id="12" dur="504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3" fill="hold" display="0">
                  <p:stCondLst>
                    <p:cond delay="indefinite"/>
                  </p:stCondLst>
                </p:cTn>
                <p:tgtEl>
                  <p:spTgt spid="2"/>
                </p:tgtEl>
              </p:cMediaNode>
            </p:video>
            <p:seq concurrent="1" nextAc="seek">
              <p:cTn id="14" restart="whenNotActive" fill="hold" evtFilter="cancelBubble" nodeType="interactiveSeq">
                <p:stCondLst>
                  <p:cond evt="onClick" delay="0">
                    <p:tgtEl>
                      <p:spTgt spid="2"/>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2"/>
                                        </p:tgtEl>
                                      </p:cBhvr>
                                    </p:cmd>
                                  </p:childTnLst>
                                </p:cTn>
                              </p:par>
                            </p:childTnLst>
                          </p:cTn>
                        </p:par>
                      </p:childTnLst>
                    </p:cTn>
                  </p:par>
                </p:childTnLst>
              </p:cTn>
              <p:nextCondLst>
                <p:cond evt="onClick" delay="0">
                  <p:tgtEl>
                    <p:spTgt spid="2"/>
                  </p:tgtEl>
                </p:cond>
              </p:nextCondLst>
            </p:seq>
          </p:childTnLst>
        </p:cTn>
      </p:par>
    </p:tnLst>
    <p:bldLst>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9B5D8A22-64A4-4582-A01E-0003BD0928F8}"/>
              </a:ext>
            </a:extLst>
          </p:cNvPr>
          <p:cNvSpPr/>
          <p:nvPr/>
        </p:nvSpPr>
        <p:spPr>
          <a:xfrm>
            <a:off x="6012179" y="1533525"/>
            <a:ext cx="5732145" cy="2809875"/>
          </a:xfrm>
          <a:prstGeom prst="roundRect">
            <a:avLst/>
          </a:prstGeom>
          <a:solidFill>
            <a:schemeClr val="accent4">
              <a:lumMod val="20000"/>
              <a:lumOff val="80000"/>
            </a:schemeClr>
          </a:solidFill>
          <a:ln w="57150">
            <a:solidFill>
              <a:srgbClr val="7030A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n-US" sz="3600" dirty="0">
                <a:solidFill>
                  <a:srgbClr val="002060"/>
                </a:solidFill>
                <a:latin typeface="Cambria" panose="02040503050406030204" pitchFamily="18" charset="0"/>
                <a:ea typeface="Cambria" panose="02040503050406030204" pitchFamily="18" charset="0"/>
              </a:rPr>
              <a:t>   </a:t>
            </a:r>
            <a:r>
              <a:rPr lang="vi-VN" sz="3600" dirty="0">
                <a:solidFill>
                  <a:srgbClr val="002060"/>
                </a:solidFill>
                <a:latin typeface="Cambria" panose="02040503050406030204" pitchFamily="18" charset="0"/>
                <a:ea typeface="Cambria" panose="02040503050406030204" pitchFamily="18" charset="0"/>
              </a:rPr>
              <a:t>Thỉnh thoảng ông bế tôi ra vườn đi dạo. Ông nói cho tôi biết tên từng loại cây trong vườn.</a:t>
            </a:r>
            <a:endParaRPr kumimoji="0" lang="en-US" sz="3600" b="0"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endParaRPr>
          </a:p>
        </p:txBody>
      </p:sp>
      <p:pic>
        <p:nvPicPr>
          <p:cNvPr id="2" name="2">
            <a:hlinkClick r:id="" action="ppaction://media"/>
            <a:extLst>
              <a:ext uri="{FF2B5EF4-FFF2-40B4-BE49-F238E27FC236}">
                <a16:creationId xmlns:a16="http://schemas.microsoft.com/office/drawing/2014/main" id="{18145FE2-8EE6-D9A9-FFE2-93615663AA9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00709" y="1215390"/>
            <a:ext cx="4899891" cy="4042410"/>
          </a:xfrm>
          <a:prstGeom prst="rect">
            <a:avLst/>
          </a:prstGeom>
        </p:spPr>
      </p:pic>
    </p:spTree>
    <p:extLst>
      <p:ext uri="{BB962C8B-B14F-4D97-AF65-F5344CB8AC3E}">
        <p14:creationId xmlns:p14="http://schemas.microsoft.com/office/powerpoint/2010/main" val="122961705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par>
                          <p:cTn id="10" fill="hold">
                            <p:stCondLst>
                              <p:cond delay="500"/>
                            </p:stCondLst>
                            <p:childTnLst>
                              <p:par>
                                <p:cTn id="11" presetID="1" presetClass="mediacall" presetSubtype="0" fill="hold" nodeType="afterEffect">
                                  <p:stCondLst>
                                    <p:cond delay="0"/>
                                  </p:stCondLst>
                                  <p:childTnLst>
                                    <p:cmd type="call" cmd="playFrom(0.0)">
                                      <p:cBhvr>
                                        <p:cTn id="12" dur="504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3" fill="hold" display="0">
                  <p:stCondLst>
                    <p:cond delay="indefinite"/>
                  </p:stCondLst>
                </p:cTn>
                <p:tgtEl>
                  <p:spTgt spid="2"/>
                </p:tgtEl>
              </p:cMediaNode>
            </p:video>
            <p:seq concurrent="1" nextAc="seek">
              <p:cTn id="14" restart="whenNotActive" fill="hold" evtFilter="cancelBubble" nodeType="interactiveSeq">
                <p:stCondLst>
                  <p:cond evt="onClick" delay="0">
                    <p:tgtEl>
                      <p:spTgt spid="2"/>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2"/>
                                        </p:tgtEl>
                                      </p:cBhvr>
                                    </p:cmd>
                                  </p:childTnLst>
                                </p:cTn>
                              </p:par>
                            </p:childTnLst>
                          </p:cTn>
                        </p:par>
                      </p:childTnLst>
                    </p:cTn>
                  </p:par>
                </p:childTnLst>
              </p:cTn>
              <p:nextCondLst>
                <p:cond evt="onClick" delay="0">
                  <p:tgtEl>
                    <p:spTgt spid="2"/>
                  </p:tgtEl>
                </p:cond>
              </p:nextCondLst>
            </p:seq>
          </p:childTnLst>
        </p:cTn>
      </p:par>
    </p:tnLst>
    <p:bldLst>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9B5D8A22-64A4-4582-A01E-0003BD0928F8}"/>
              </a:ext>
            </a:extLst>
          </p:cNvPr>
          <p:cNvSpPr/>
          <p:nvPr/>
        </p:nvSpPr>
        <p:spPr>
          <a:xfrm>
            <a:off x="5326380" y="1181100"/>
            <a:ext cx="6865619" cy="4568190"/>
          </a:xfrm>
          <a:prstGeom prst="roundRect">
            <a:avLst/>
          </a:prstGeom>
          <a:solidFill>
            <a:schemeClr val="accent4">
              <a:lumMod val="20000"/>
              <a:lumOff val="80000"/>
            </a:schemeClr>
          </a:solidFill>
          <a:ln w="57150">
            <a:solidFill>
              <a:srgbClr val="7030A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n-US" sz="3600" dirty="0">
                <a:solidFill>
                  <a:srgbClr val="002060"/>
                </a:solidFill>
                <a:latin typeface="Cambria" panose="02040503050406030204" pitchFamily="18" charset="0"/>
                <a:ea typeface="Cambria" panose="02040503050406030204" pitchFamily="18" charset="0"/>
              </a:rPr>
              <a:t>   </a:t>
            </a:r>
            <a:r>
              <a:rPr lang="vi-VN" sz="3600" dirty="0">
                <a:solidFill>
                  <a:srgbClr val="002060"/>
                </a:solidFill>
                <a:latin typeface="Cambria" panose="02040503050406030204" pitchFamily="18" charset="0"/>
                <a:ea typeface="Cambria" panose="02040503050406030204" pitchFamily="18" charset="0"/>
              </a:rPr>
              <a:t>Cây cối trong vườn ngày một vươn cao và tôi thì ngày một khôn lớn. Tôi đã biết theo ông ra vườn chăm sóc từng gốc cây. Ông nhổ cỏ, vun gốc cho cây. Ông hướng dẫn tôi tưới nước cho cây. Làm việc cùng ông thật là vui. </a:t>
            </a:r>
            <a:endParaRPr kumimoji="0" lang="en-US" sz="3600" b="0"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endParaRPr>
          </a:p>
        </p:txBody>
      </p:sp>
      <p:pic>
        <p:nvPicPr>
          <p:cNvPr id="2" name="3">
            <a:hlinkClick r:id="" action="ppaction://media"/>
            <a:extLst>
              <a:ext uri="{FF2B5EF4-FFF2-40B4-BE49-F238E27FC236}">
                <a16:creationId xmlns:a16="http://schemas.microsoft.com/office/drawing/2014/main" id="{FE90E175-DEAD-05B7-8C2C-26829AA73EF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29260" y="1454150"/>
            <a:ext cx="4686710" cy="3632200"/>
          </a:xfrm>
          <a:prstGeom prst="rect">
            <a:avLst/>
          </a:prstGeom>
        </p:spPr>
      </p:pic>
    </p:spTree>
    <p:extLst>
      <p:ext uri="{BB962C8B-B14F-4D97-AF65-F5344CB8AC3E}">
        <p14:creationId xmlns:p14="http://schemas.microsoft.com/office/powerpoint/2010/main" val="420502090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par>
                          <p:cTn id="10" fill="hold">
                            <p:stCondLst>
                              <p:cond delay="500"/>
                            </p:stCondLst>
                            <p:childTnLst>
                              <p:par>
                                <p:cTn id="11" presetID="1" presetClass="mediacall" presetSubtype="0" fill="hold" nodeType="afterEffect">
                                  <p:stCondLst>
                                    <p:cond delay="0"/>
                                  </p:stCondLst>
                                  <p:childTnLst>
                                    <p:cmd type="call" cmd="playFrom(0.0)">
                                      <p:cBhvr>
                                        <p:cTn id="12" dur="504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3" fill="hold" display="0">
                  <p:stCondLst>
                    <p:cond delay="indefinite"/>
                  </p:stCondLst>
                </p:cTn>
                <p:tgtEl>
                  <p:spTgt spid="2"/>
                </p:tgtEl>
              </p:cMediaNode>
            </p:video>
            <p:seq concurrent="1" nextAc="seek">
              <p:cTn id="14" restart="whenNotActive" fill="hold" evtFilter="cancelBubble" nodeType="interactiveSeq">
                <p:stCondLst>
                  <p:cond evt="onClick" delay="0">
                    <p:tgtEl>
                      <p:spTgt spid="2"/>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2"/>
                                        </p:tgtEl>
                                      </p:cBhvr>
                                    </p:cmd>
                                  </p:childTnLst>
                                </p:cTn>
                              </p:par>
                            </p:childTnLst>
                          </p:cTn>
                        </p:par>
                      </p:childTnLst>
                    </p:cTn>
                  </p:par>
                </p:childTnLst>
              </p:cTn>
              <p:nextCondLst>
                <p:cond evt="onClick" delay="0">
                  <p:tgtEl>
                    <p:spTgt spid="2"/>
                  </p:tgtEl>
                </p:cond>
              </p:nextCondLst>
            </p:seq>
          </p:childTnLst>
        </p:cTn>
      </p:par>
    </p:tnLst>
    <p:bldLst>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9B5D8A22-64A4-4582-A01E-0003BD0928F8}"/>
              </a:ext>
            </a:extLst>
          </p:cNvPr>
          <p:cNvSpPr/>
          <p:nvPr/>
        </p:nvSpPr>
        <p:spPr>
          <a:xfrm>
            <a:off x="5246370" y="952500"/>
            <a:ext cx="6669405" cy="4248150"/>
          </a:xfrm>
          <a:prstGeom prst="roundRect">
            <a:avLst/>
          </a:prstGeom>
          <a:solidFill>
            <a:schemeClr val="accent4">
              <a:lumMod val="20000"/>
              <a:lumOff val="80000"/>
            </a:schemeClr>
          </a:solidFill>
          <a:ln w="57150">
            <a:solidFill>
              <a:srgbClr val="7030A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n-US" sz="3600" dirty="0">
                <a:solidFill>
                  <a:srgbClr val="002060"/>
                </a:solidFill>
                <a:latin typeface="Cambria" panose="02040503050406030204" pitchFamily="18" charset="0"/>
                <a:ea typeface="Cambria" panose="02040503050406030204" pitchFamily="18" charset="0"/>
              </a:rPr>
              <a:t>   </a:t>
            </a:r>
            <a:r>
              <a:rPr lang="vi-VN" sz="3600" dirty="0">
                <a:solidFill>
                  <a:srgbClr val="002060"/>
                </a:solidFill>
                <a:latin typeface="Cambria" panose="02040503050406030204" pitchFamily="18" charset="0"/>
                <a:ea typeface="Cambria" panose="02040503050406030204" pitchFamily="18" charset="0"/>
              </a:rPr>
              <a:t>Bây giờ, cây trong vườn ông trồng đã trĩu quả, đền ơn người trồng và chăm bón. Ông hái cho tôi những trái cây đầu mùa thơm ngon nhất. Ông ơi, cháu cảm ơn ông – người trồng cây  cho cháu hái quả ngọt. </a:t>
            </a:r>
            <a:endParaRPr kumimoji="0" lang="en-US" sz="3600" b="0" i="0" u="none" strike="noStrike" kern="1200" cap="none" spc="0" normalizeH="0" baseline="0" noProof="0" dirty="0">
              <a:ln>
                <a:noFill/>
              </a:ln>
              <a:solidFill>
                <a:srgbClr val="002060"/>
              </a:solidFill>
              <a:effectLst/>
              <a:uLnTx/>
              <a:uFillTx/>
              <a:latin typeface="Cambria" panose="02040503050406030204" pitchFamily="18" charset="0"/>
              <a:ea typeface="Cambria" panose="02040503050406030204" pitchFamily="18" charset="0"/>
            </a:endParaRPr>
          </a:p>
        </p:txBody>
      </p:sp>
      <p:pic>
        <p:nvPicPr>
          <p:cNvPr id="2" name="4">
            <a:hlinkClick r:id="" action="ppaction://media"/>
            <a:extLst>
              <a:ext uri="{FF2B5EF4-FFF2-40B4-BE49-F238E27FC236}">
                <a16:creationId xmlns:a16="http://schemas.microsoft.com/office/drawing/2014/main" id="{A2C1D32B-8F56-944F-30D1-A9A7AE950DD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52119" y="1426210"/>
            <a:ext cx="4532313" cy="3625850"/>
          </a:xfrm>
          <a:prstGeom prst="rect">
            <a:avLst/>
          </a:prstGeom>
        </p:spPr>
      </p:pic>
    </p:spTree>
    <p:extLst>
      <p:ext uri="{BB962C8B-B14F-4D97-AF65-F5344CB8AC3E}">
        <p14:creationId xmlns:p14="http://schemas.microsoft.com/office/powerpoint/2010/main" val="351549466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par>
                          <p:cTn id="10" fill="hold">
                            <p:stCondLst>
                              <p:cond delay="500"/>
                            </p:stCondLst>
                            <p:childTnLst>
                              <p:par>
                                <p:cTn id="11" presetID="1" presetClass="mediacall" presetSubtype="0" fill="hold" nodeType="afterEffect">
                                  <p:stCondLst>
                                    <p:cond delay="0"/>
                                  </p:stCondLst>
                                  <p:childTnLst>
                                    <p:cmd type="call" cmd="playFrom(0.0)">
                                      <p:cBhvr>
                                        <p:cTn id="12" dur="504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3" fill="hold" display="0">
                  <p:stCondLst>
                    <p:cond delay="indefinite"/>
                  </p:stCondLst>
                </p:cTn>
                <p:tgtEl>
                  <p:spTgt spid="2"/>
                </p:tgtEl>
              </p:cMediaNode>
            </p:video>
            <p:seq concurrent="1" nextAc="seek">
              <p:cTn id="14" restart="whenNotActive" fill="hold" evtFilter="cancelBubble" nodeType="interactiveSeq">
                <p:stCondLst>
                  <p:cond evt="onClick" delay="0">
                    <p:tgtEl>
                      <p:spTgt spid="2"/>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2"/>
                                        </p:tgtEl>
                                      </p:cBhvr>
                                    </p:cmd>
                                  </p:childTnLst>
                                </p:cTn>
                              </p:par>
                            </p:childTnLst>
                          </p:cTn>
                        </p:par>
                      </p:childTnLst>
                    </p:cTn>
                  </p:par>
                </p:childTnLst>
              </p:cTn>
              <p:nextCondLst>
                <p:cond evt="onClick" delay="0">
                  <p:tgtEl>
                    <p:spTgt spid="2"/>
                  </p:tgtEl>
                </p:cond>
              </p:nextCondLst>
            </p:seq>
          </p:childTnLst>
        </p:cTn>
      </p:par>
    </p:tnLst>
    <p:bldLst>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8AB9D-C74A-70EC-27A8-3DF521DD954B}"/>
            </a:ext>
          </a:extLst>
        </p:cNvPr>
        <p:cNvGrpSpPr/>
        <p:nvPr/>
      </p:nvGrpSpPr>
      <p:grpSpPr>
        <a:xfrm>
          <a:off x="0" y="0"/>
          <a:ext cx="0" cy="0"/>
          <a:chOff x="0" y="0"/>
          <a:chExt cx="0" cy="0"/>
        </a:xfrm>
      </p:grpSpPr>
      <p:pic>
        <p:nvPicPr>
          <p:cNvPr id="3" name="图片 2">
            <a:extLst>
              <a:ext uri="{FF2B5EF4-FFF2-40B4-BE49-F238E27FC236}">
                <a16:creationId xmlns:a16="http://schemas.microsoft.com/office/drawing/2014/main" id="{933774EF-33ED-B01D-23C9-F143508D80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29ADAECB-08E1-5283-3B99-4B8BF974E8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62" y="437682"/>
            <a:ext cx="8745568" cy="5165206"/>
          </a:xfrm>
          <a:prstGeom prst="rect">
            <a:avLst/>
          </a:prstGeom>
        </p:spPr>
      </p:pic>
      <p:sp>
        <p:nvSpPr>
          <p:cNvPr id="4" name="TextBox 3">
            <a:extLst>
              <a:ext uri="{FF2B5EF4-FFF2-40B4-BE49-F238E27FC236}">
                <a16:creationId xmlns:a16="http://schemas.microsoft.com/office/drawing/2014/main" id="{E6A8C4A1-B538-2987-B10E-217441A38A2D}"/>
              </a:ext>
            </a:extLst>
          </p:cNvPr>
          <p:cNvSpPr txBox="1"/>
          <p:nvPr/>
        </p:nvSpPr>
        <p:spPr>
          <a:xfrm>
            <a:off x="1479322" y="1919280"/>
            <a:ext cx="6121628" cy="2800767"/>
          </a:xfrm>
          <a:prstGeom prst="rect">
            <a:avLst/>
          </a:prstGeom>
          <a:noFill/>
        </p:spPr>
        <p:txBody>
          <a:bodyPr wrap="square" rtlCol="0">
            <a:spAutoFit/>
          </a:bodyPr>
          <a:lstStyle/>
          <a:p>
            <a:pPr lvl="0" algn="ctr">
              <a:defRPr/>
            </a:pPr>
            <a:r>
              <a:rPr lang="vi-VN" sz="4400" b="1" i="1" dirty="0">
                <a:solidFill>
                  <a:srgbClr val="C00000"/>
                </a:solidFill>
                <a:latin typeface="Cambria" panose="02040503050406030204" pitchFamily="18" charset="0"/>
                <a:ea typeface="Cambria" panose="02040503050406030204" pitchFamily="18" charset="0"/>
              </a:rPr>
              <a:t>2. Kể câu chuyện được thể hiện trong các tranh ở trên và đặt tên cho truyện.</a:t>
            </a:r>
          </a:p>
        </p:txBody>
      </p:sp>
      <p:pic>
        <p:nvPicPr>
          <p:cNvPr id="2" name="Picture 1">
            <a:extLst>
              <a:ext uri="{FF2B5EF4-FFF2-40B4-BE49-F238E27FC236}">
                <a16:creationId xmlns:a16="http://schemas.microsoft.com/office/drawing/2014/main" id="{AE0B707A-5444-0275-1A09-B5CA4471F9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73039" y="1508761"/>
            <a:ext cx="4362487" cy="5349240"/>
          </a:xfrm>
          <a:prstGeom prst="rect">
            <a:avLst/>
          </a:prstGeom>
        </p:spPr>
      </p:pic>
    </p:spTree>
    <p:extLst>
      <p:ext uri="{BB962C8B-B14F-4D97-AF65-F5344CB8AC3E}">
        <p14:creationId xmlns:p14="http://schemas.microsoft.com/office/powerpoint/2010/main" val="765556583"/>
      </p:ext>
    </p:extLst>
  </p:cSld>
  <p:clrMapOvr>
    <a:masterClrMapping/>
  </p:clrMapOvr>
  <p:transition spd="med" advClick="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SHAPE_LOCKS" val="959"/>
</p:tagLst>
</file>

<file path=ppt/tags/tag2.xml><?xml version="1.0" encoding="utf-8"?>
<p:tagLst xmlns:a="http://schemas.openxmlformats.org/drawingml/2006/main" xmlns:r="http://schemas.openxmlformats.org/officeDocument/2006/relationships" xmlns:p="http://schemas.openxmlformats.org/presentationml/2006/main">
  <p:tag name="SHAPE_LOCKS" val="16"/>
</p:tagLst>
</file>

<file path=ppt/tags/tag3.xml><?xml version="1.0" encoding="utf-8"?>
<p:tagLst xmlns:a="http://schemas.openxmlformats.org/drawingml/2006/main" xmlns:r="http://schemas.openxmlformats.org/officeDocument/2006/relationships" xmlns:p="http://schemas.openxmlformats.org/presentationml/2006/main">
  <p:tag name="SHAPE_LOCKS" val="16"/>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9Slide - 2021">
      <a:dk1>
        <a:sysClr val="windowText" lastClr="000000"/>
      </a:dk1>
      <a:lt1>
        <a:sysClr val="window" lastClr="FFFFFF"/>
      </a:lt1>
      <a:dk2>
        <a:srgbClr val="092D6C"/>
      </a:dk2>
      <a:lt2>
        <a:srgbClr val="FCECD0"/>
      </a:lt2>
      <a:accent1>
        <a:srgbClr val="4FC1E9"/>
      </a:accent1>
      <a:accent2>
        <a:srgbClr val="48CFAD"/>
      </a:accent2>
      <a:accent3>
        <a:srgbClr val="A0D468"/>
      </a:accent3>
      <a:accent4>
        <a:srgbClr val="FFBD45"/>
      </a:accent4>
      <a:accent5>
        <a:srgbClr val="FC6E51"/>
      </a:accent5>
      <a:accent6>
        <a:srgbClr val="ED5565"/>
      </a:accent6>
      <a:hlink>
        <a:srgbClr val="5D9CEC"/>
      </a:hlink>
      <a:folHlink>
        <a:srgbClr val="AC92EC"/>
      </a:folHlink>
    </a:clrScheme>
    <a:fontScheme name="9Slide Fonts">
      <a:majorFont>
        <a:latin typeface="#9Slide02 Tieu de dai"/>
        <a:ea typeface=""/>
        <a:cs typeface=""/>
      </a:majorFont>
      <a:minorFont>
        <a:latin typeface="#9Slide02 Noi dung da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mtClean="0">
            <a:solidFill>
              <a:schemeClr val="tx1">
                <a:lumMod val="50000"/>
                <a:lumOff val="50000"/>
              </a:schemeClr>
            </a:solidFill>
          </a:defRPr>
        </a:defPPr>
      </a:lstStyle>
    </a:txDef>
  </a:objectDefaults>
  <a:extraClrSchemeLst/>
  <a:extLst>
    <a:ext uri="{05A4C25C-085E-4340-85A3-A5531E510DB2}">
      <thm15:themeFamily xmlns:thm15="http://schemas.microsoft.com/office/thememl/2012/main" name="Blank.potx" id="{4C410E64-73D4-4894-A16A-B0A564A2C1B3}" vid="{BD11DD77-7AB8-40E7-98B4-F754939C4E0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6</TotalTime>
  <Words>200</Words>
  <Application>Microsoft Office PowerPoint</Application>
  <PresentationFormat>Widescreen</PresentationFormat>
  <Paragraphs>12</Paragraphs>
  <Slides>8</Slides>
  <Notes>5</Notes>
  <HiddenSlides>0</HiddenSlides>
  <MMClips>4</MMClips>
  <ScaleCrop>false</ScaleCrop>
  <HeadingPairs>
    <vt:vector size="6" baseType="variant">
      <vt:variant>
        <vt:lpstr>Fonts Used</vt:lpstr>
      </vt:variant>
      <vt:variant>
        <vt:i4>9</vt:i4>
      </vt:variant>
      <vt:variant>
        <vt:lpstr>Theme</vt:lpstr>
      </vt:variant>
      <vt:variant>
        <vt:i4>3</vt:i4>
      </vt:variant>
      <vt:variant>
        <vt:lpstr>Slide Titles</vt:lpstr>
      </vt:variant>
      <vt:variant>
        <vt:i4>8</vt:i4>
      </vt:variant>
    </vt:vector>
  </HeadingPairs>
  <TitlesOfParts>
    <vt:vector size="20" baseType="lpstr">
      <vt:lpstr>#9Slide02 Noi dung dai</vt:lpstr>
      <vt:lpstr>#9Slide02 Tieu de dai</vt:lpstr>
      <vt:lpstr>#9Slide07 Crocante</vt:lpstr>
      <vt:lpstr>等线</vt:lpstr>
      <vt:lpstr>等线 Light</vt:lpstr>
      <vt:lpstr>Arial</vt:lpstr>
      <vt:lpstr>Calibri</vt:lpstr>
      <vt:lpstr>Calibri Light</vt:lpstr>
      <vt:lpstr>Cambria</vt:lpstr>
      <vt:lpstr>1_Office Theme</vt:lpstr>
      <vt:lpstr>Office 主题​​</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ao Tran</dc:creator>
  <cp:lastModifiedBy>admin</cp:lastModifiedBy>
  <cp:revision>21</cp:revision>
  <dcterms:created xsi:type="dcterms:W3CDTF">2022-09-19T11:04:23Z</dcterms:created>
  <dcterms:modified xsi:type="dcterms:W3CDTF">2025-12-27T13:52:28Z</dcterms:modified>
</cp:coreProperties>
</file>